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8.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9.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0.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1.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2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23.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Lst>
  <p:notesMasterIdLst>
    <p:notesMasterId r:id="rId31"/>
  </p:notesMasterIdLst>
  <p:sldIdLst>
    <p:sldId id="642" r:id="rId5"/>
    <p:sldId id="614" r:id="rId6"/>
    <p:sldId id="616" r:id="rId7"/>
    <p:sldId id="631" r:id="rId8"/>
    <p:sldId id="636" r:id="rId9"/>
    <p:sldId id="643" r:id="rId10"/>
    <p:sldId id="644" r:id="rId11"/>
    <p:sldId id="645" r:id="rId12"/>
    <p:sldId id="646" r:id="rId13"/>
    <p:sldId id="647" r:id="rId14"/>
    <p:sldId id="648" r:id="rId15"/>
    <p:sldId id="649" r:id="rId16"/>
    <p:sldId id="650" r:id="rId17"/>
    <p:sldId id="660" r:id="rId18"/>
    <p:sldId id="651" r:id="rId19"/>
    <p:sldId id="661" r:id="rId20"/>
    <p:sldId id="652" r:id="rId21"/>
    <p:sldId id="653" r:id="rId22"/>
    <p:sldId id="654" r:id="rId23"/>
    <p:sldId id="655" r:id="rId24"/>
    <p:sldId id="656" r:id="rId25"/>
    <p:sldId id="657" r:id="rId26"/>
    <p:sldId id="658" r:id="rId27"/>
    <p:sldId id="659" r:id="rId28"/>
    <p:sldId id="630" r:id="rId29"/>
    <p:sldId id="262" r:id="rId3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2" roundtripDataSignature="AMtx7mj8V6OIHXc/1w8EYko7Sv4W2miTB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92B9546-CF97-4853-9CAF-76B6C771F1C8}">
  <a:tblStyle styleId="{892B9546-CF97-4853-9CAF-76B6C771F1C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4C1A8A3-306A-4EB7-A6B1-4F7E0EB9C5D6}" styleName="Estilo medio 3 - Énfasis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16DA210-FB5B-4158-B5E0-FEB733F419BA}" styleName="Estilo cl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78" autoAdjust="0"/>
    <p:restoredTop sz="82353" autoAdjust="0"/>
  </p:normalViewPr>
  <p:slideViewPr>
    <p:cSldViewPr snapToGrid="0">
      <p:cViewPr varScale="1">
        <p:scale>
          <a:sx n="47" d="100"/>
          <a:sy n="47" d="100"/>
        </p:scale>
        <p:origin x="876" y="6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customschemas.google.com/relationships/presentationmetadata" Target="meta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C8CBF9-CA2B-4BB9-8445-CBA809C479E7}"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s-CL"/>
        </a:p>
      </dgm:t>
    </dgm:pt>
    <dgm:pt modelId="{01ABAD6F-877D-4C22-A65B-B140C33C9F96}">
      <dgm:prSet phldrT="[Texto]"/>
      <dgm:spPr/>
      <dgm:t>
        <a:bodyPr/>
        <a:lstStyle/>
        <a:p>
          <a:r>
            <a:rPr lang="es-CL" dirty="0"/>
            <a:t>Modelo concentrado y de ley superior</a:t>
          </a:r>
        </a:p>
      </dgm:t>
    </dgm:pt>
    <dgm:pt modelId="{BAEC61B1-B878-453B-8935-86F9789B4DBB}" type="parTrans" cxnId="{1FF58FAA-7E84-4D11-B065-DC63B82796B3}">
      <dgm:prSet/>
      <dgm:spPr/>
      <dgm:t>
        <a:bodyPr/>
        <a:lstStyle/>
        <a:p>
          <a:endParaRPr lang="es-CL"/>
        </a:p>
      </dgm:t>
    </dgm:pt>
    <dgm:pt modelId="{10D3C67D-5384-4F07-82B2-4A873F2A200E}" type="sibTrans" cxnId="{1FF58FAA-7E84-4D11-B065-DC63B82796B3}">
      <dgm:prSet/>
      <dgm:spPr/>
      <dgm:t>
        <a:bodyPr/>
        <a:lstStyle/>
        <a:p>
          <a:endParaRPr lang="es-CL"/>
        </a:p>
      </dgm:t>
    </dgm:pt>
    <dgm:pt modelId="{E665FE94-669D-42A3-B30F-562290478FA7}">
      <dgm:prSet phldrT="[Texto]"/>
      <dgm:spPr/>
      <dgm:t>
        <a:bodyPr/>
        <a:lstStyle/>
        <a:p>
          <a:r>
            <a:rPr lang="es-CL" dirty="0"/>
            <a:t>Ministerio de Salud ejerce su rol rector</a:t>
          </a:r>
        </a:p>
      </dgm:t>
    </dgm:pt>
    <dgm:pt modelId="{E9B4F44E-BC6B-42F5-B47C-A488853F1A95}" type="parTrans" cxnId="{ED0A4F1D-BAD4-4B27-A0F4-F9BD85D772A9}">
      <dgm:prSet/>
      <dgm:spPr/>
      <dgm:t>
        <a:bodyPr/>
        <a:lstStyle/>
        <a:p>
          <a:endParaRPr lang="es-CL"/>
        </a:p>
      </dgm:t>
    </dgm:pt>
    <dgm:pt modelId="{68187E21-1F3E-426C-9873-BC49CAF743DA}" type="sibTrans" cxnId="{ED0A4F1D-BAD4-4B27-A0F4-F9BD85D772A9}">
      <dgm:prSet/>
      <dgm:spPr/>
      <dgm:t>
        <a:bodyPr/>
        <a:lstStyle/>
        <a:p>
          <a:endParaRPr lang="es-CL"/>
        </a:p>
      </dgm:t>
    </dgm:pt>
    <dgm:pt modelId="{2DDB1CAE-A3C4-4E74-9BA5-DBDA357AC84E}">
      <dgm:prSet phldrT="[Texto]"/>
      <dgm:spPr/>
      <dgm:t>
        <a:bodyPr/>
        <a:lstStyle/>
        <a:p>
          <a:r>
            <a:rPr lang="es-CL" dirty="0"/>
            <a:t>Código Sanitario</a:t>
          </a:r>
        </a:p>
      </dgm:t>
    </dgm:pt>
    <dgm:pt modelId="{AD06718C-C932-4BF2-9639-898CC9C43CFB}" type="parTrans" cxnId="{C91106F4-717A-490E-962E-7F18E6E45452}">
      <dgm:prSet/>
      <dgm:spPr/>
      <dgm:t>
        <a:bodyPr/>
        <a:lstStyle/>
        <a:p>
          <a:endParaRPr lang="es-CL"/>
        </a:p>
      </dgm:t>
    </dgm:pt>
    <dgm:pt modelId="{170419F1-FDA9-40D8-B219-00FF0F1F9B28}" type="sibTrans" cxnId="{C91106F4-717A-490E-962E-7F18E6E45452}">
      <dgm:prSet/>
      <dgm:spPr/>
      <dgm:t>
        <a:bodyPr/>
        <a:lstStyle/>
        <a:p>
          <a:endParaRPr lang="es-CL"/>
        </a:p>
      </dgm:t>
    </dgm:pt>
    <dgm:pt modelId="{CE2B145E-A2C4-4DD5-ACBE-497051DB024C}">
      <dgm:prSet phldrT="[Texto]"/>
      <dgm:spPr/>
      <dgm:t>
        <a:bodyPr/>
        <a:lstStyle/>
        <a:p>
          <a:r>
            <a:rPr lang="es-CL" dirty="0"/>
            <a:t>Ley 3.385/1918, Ley 226/1931 y DFL 725/1968</a:t>
          </a:r>
        </a:p>
      </dgm:t>
    </dgm:pt>
    <dgm:pt modelId="{16B2F4E1-4211-4093-9099-642CA97EAB21}" type="parTrans" cxnId="{73DF88DD-EB8B-4EB1-8A77-CAC4DCB1E77A}">
      <dgm:prSet/>
      <dgm:spPr/>
      <dgm:t>
        <a:bodyPr/>
        <a:lstStyle/>
        <a:p>
          <a:endParaRPr lang="es-CL"/>
        </a:p>
      </dgm:t>
    </dgm:pt>
    <dgm:pt modelId="{16BCB533-1FE0-437A-B960-374474DC2798}" type="sibTrans" cxnId="{73DF88DD-EB8B-4EB1-8A77-CAC4DCB1E77A}">
      <dgm:prSet/>
      <dgm:spPr/>
      <dgm:t>
        <a:bodyPr/>
        <a:lstStyle/>
        <a:p>
          <a:endParaRPr lang="es-CL"/>
        </a:p>
      </dgm:t>
    </dgm:pt>
    <dgm:pt modelId="{BD1993C1-1E58-4C62-9211-27414FA467C2}">
      <dgm:prSet phldrT="[Texto]"/>
      <dgm:spPr/>
      <dgm:t>
        <a:bodyPr/>
        <a:lstStyle/>
        <a:p>
          <a:r>
            <a:rPr lang="es-CL" dirty="0"/>
            <a:t>Libro V</a:t>
          </a:r>
        </a:p>
      </dgm:t>
    </dgm:pt>
    <dgm:pt modelId="{722C8E62-EFA6-4D45-99E2-2EF1825E4B8C}" type="parTrans" cxnId="{3E58903E-9679-4E55-93B0-B17B7813A97B}">
      <dgm:prSet/>
      <dgm:spPr/>
      <dgm:t>
        <a:bodyPr/>
        <a:lstStyle/>
        <a:p>
          <a:endParaRPr lang="es-CL"/>
        </a:p>
      </dgm:t>
    </dgm:pt>
    <dgm:pt modelId="{03E2D3DC-BCA6-4FF3-ABFA-DF4182A50A82}" type="sibTrans" cxnId="{3E58903E-9679-4E55-93B0-B17B7813A97B}">
      <dgm:prSet/>
      <dgm:spPr/>
      <dgm:t>
        <a:bodyPr/>
        <a:lstStyle/>
        <a:p>
          <a:endParaRPr lang="es-CL"/>
        </a:p>
      </dgm:t>
    </dgm:pt>
    <dgm:pt modelId="{65592EC3-31DA-4DFD-BEB6-9677FCC1A26E}">
      <dgm:prSet phldrT="[Texto]"/>
      <dgm:spPr/>
      <dgm:t>
        <a:bodyPr/>
        <a:lstStyle/>
        <a:p>
          <a:r>
            <a:rPr lang="es-ES" dirty="0"/>
            <a:t>Del ejercicio de la medicina y profesiones afines</a:t>
          </a:r>
          <a:endParaRPr lang="es-CL" dirty="0"/>
        </a:p>
      </dgm:t>
    </dgm:pt>
    <dgm:pt modelId="{02AD8AF0-1290-4E76-B2EB-7B9B8AF06F65}" type="parTrans" cxnId="{EF002FAC-F023-4A55-8260-BB8A449F9938}">
      <dgm:prSet/>
      <dgm:spPr/>
      <dgm:t>
        <a:bodyPr/>
        <a:lstStyle/>
        <a:p>
          <a:endParaRPr lang="es-CL"/>
        </a:p>
      </dgm:t>
    </dgm:pt>
    <dgm:pt modelId="{9AEEFCD6-E29F-4731-8435-789BFB887D32}" type="sibTrans" cxnId="{EF002FAC-F023-4A55-8260-BB8A449F9938}">
      <dgm:prSet/>
      <dgm:spPr/>
      <dgm:t>
        <a:bodyPr/>
        <a:lstStyle/>
        <a:p>
          <a:endParaRPr lang="es-CL"/>
        </a:p>
      </dgm:t>
    </dgm:pt>
    <dgm:pt modelId="{4AFA23D0-B653-48AA-BA54-5C18D7DC1A0A}">
      <dgm:prSet/>
      <dgm:spPr/>
      <dgm:t>
        <a:bodyPr/>
        <a:lstStyle/>
        <a:p>
          <a:r>
            <a:rPr lang="es-CL" dirty="0"/>
            <a:t>Regulación de profesionales de salud en Chile</a:t>
          </a:r>
        </a:p>
      </dgm:t>
    </dgm:pt>
    <dgm:pt modelId="{55493177-FD42-42DE-8180-CF46750C930B}" type="parTrans" cxnId="{E465C47C-2D47-4BB6-BDB6-BEC4ADC2CC51}">
      <dgm:prSet/>
      <dgm:spPr/>
      <dgm:t>
        <a:bodyPr/>
        <a:lstStyle/>
        <a:p>
          <a:endParaRPr lang="es-CL"/>
        </a:p>
      </dgm:t>
    </dgm:pt>
    <dgm:pt modelId="{F90090C5-1F1F-45E2-B52A-B60A2DD67F24}" type="sibTrans" cxnId="{E465C47C-2D47-4BB6-BDB6-BEC4ADC2CC51}">
      <dgm:prSet/>
      <dgm:spPr/>
      <dgm:t>
        <a:bodyPr/>
        <a:lstStyle/>
        <a:p>
          <a:endParaRPr lang="es-CL"/>
        </a:p>
      </dgm:t>
    </dgm:pt>
    <dgm:pt modelId="{630631DD-248E-42C4-91C5-3BB40A7E1BA9}">
      <dgm:prSet/>
      <dgm:spPr/>
      <dgm:t>
        <a:bodyPr/>
        <a:lstStyle/>
        <a:p>
          <a:r>
            <a:rPr lang="es-CL" dirty="0"/>
            <a:t>Formación: LOCE – LGE </a:t>
          </a:r>
        </a:p>
        <a:p>
          <a:r>
            <a:rPr lang="es-CL" dirty="0"/>
            <a:t>Ejercicio: Código sanitario</a:t>
          </a:r>
        </a:p>
      </dgm:t>
    </dgm:pt>
    <dgm:pt modelId="{607D406A-3CB9-4915-8C0C-691980E3E4CD}" type="parTrans" cxnId="{988990F0-A8AD-4C99-82D7-EE95D97420E7}">
      <dgm:prSet/>
      <dgm:spPr/>
      <dgm:t>
        <a:bodyPr/>
        <a:lstStyle/>
        <a:p>
          <a:endParaRPr lang="es-CL"/>
        </a:p>
      </dgm:t>
    </dgm:pt>
    <dgm:pt modelId="{3E799895-A4CF-4A13-ADFF-81A195C16726}" type="sibTrans" cxnId="{988990F0-A8AD-4C99-82D7-EE95D97420E7}">
      <dgm:prSet/>
      <dgm:spPr/>
      <dgm:t>
        <a:bodyPr/>
        <a:lstStyle/>
        <a:p>
          <a:endParaRPr lang="es-CL"/>
        </a:p>
      </dgm:t>
    </dgm:pt>
    <dgm:pt modelId="{8900BC2E-7DB4-4435-8CCD-BD6F1A50CBCB}">
      <dgm:prSet/>
      <dgm:spPr/>
      <dgm:t>
        <a:bodyPr/>
        <a:lstStyle/>
        <a:p>
          <a:r>
            <a:rPr lang="es-CL" dirty="0"/>
            <a:t>Proyecto de ley</a:t>
          </a:r>
        </a:p>
      </dgm:t>
    </dgm:pt>
    <dgm:pt modelId="{7F11E470-6285-48CB-A113-0258DB1F7F1C}" type="parTrans" cxnId="{DEEA5C6D-2A07-4802-AF4A-C7F6D6AE86B5}">
      <dgm:prSet/>
      <dgm:spPr/>
      <dgm:t>
        <a:bodyPr/>
        <a:lstStyle/>
        <a:p>
          <a:endParaRPr lang="es-CL"/>
        </a:p>
      </dgm:t>
    </dgm:pt>
    <dgm:pt modelId="{476E16BB-E92E-4694-94D0-5D8A1F413237}" type="sibTrans" cxnId="{DEEA5C6D-2A07-4802-AF4A-C7F6D6AE86B5}">
      <dgm:prSet/>
      <dgm:spPr/>
      <dgm:t>
        <a:bodyPr/>
        <a:lstStyle/>
        <a:p>
          <a:endParaRPr lang="es-CL"/>
        </a:p>
      </dgm:t>
    </dgm:pt>
    <dgm:pt modelId="{0F38EADC-F1FF-42E3-8E2C-55E612FFF142}">
      <dgm:prSet/>
      <dgm:spPr/>
      <dgm:t>
        <a:bodyPr/>
        <a:lstStyle/>
        <a:p>
          <a:r>
            <a:rPr lang="es-CL" dirty="0"/>
            <a:t>Proyecto refundido</a:t>
          </a:r>
        </a:p>
        <a:p>
          <a:r>
            <a:rPr lang="es-CL" dirty="0"/>
            <a:t>Indicaciones sustitutivas</a:t>
          </a:r>
        </a:p>
      </dgm:t>
    </dgm:pt>
    <dgm:pt modelId="{43A478CC-59D0-4AC1-B0A0-1772A700773F}" type="parTrans" cxnId="{A7E3970C-E97F-4F7A-AD7C-8407C7C7EAC3}">
      <dgm:prSet/>
      <dgm:spPr/>
      <dgm:t>
        <a:bodyPr/>
        <a:lstStyle/>
        <a:p>
          <a:endParaRPr lang="es-CL"/>
        </a:p>
      </dgm:t>
    </dgm:pt>
    <dgm:pt modelId="{93DD6EA3-0501-4C21-809C-23B4F1723AED}" type="sibTrans" cxnId="{A7E3970C-E97F-4F7A-AD7C-8407C7C7EAC3}">
      <dgm:prSet/>
      <dgm:spPr/>
      <dgm:t>
        <a:bodyPr/>
        <a:lstStyle/>
        <a:p>
          <a:endParaRPr lang="es-CL"/>
        </a:p>
      </dgm:t>
    </dgm:pt>
    <dgm:pt modelId="{B928BBF2-8716-4D25-906A-4461A1EBDA26}" type="pres">
      <dgm:prSet presAssocID="{49C8CBF9-CA2B-4BB9-8445-CBA809C479E7}" presName="Name0" presStyleCnt="0">
        <dgm:presLayoutVars>
          <dgm:chPref val="3"/>
          <dgm:dir/>
          <dgm:animLvl val="lvl"/>
          <dgm:resizeHandles/>
        </dgm:presLayoutVars>
      </dgm:prSet>
      <dgm:spPr/>
    </dgm:pt>
    <dgm:pt modelId="{4D02A8B9-CADC-40AC-8451-E16FBFCC9168}" type="pres">
      <dgm:prSet presAssocID="{01ABAD6F-877D-4C22-A65B-B140C33C9F96}" presName="horFlow" presStyleCnt="0"/>
      <dgm:spPr/>
    </dgm:pt>
    <dgm:pt modelId="{C9E31800-FD96-4EAC-AE46-B10772A0F21D}" type="pres">
      <dgm:prSet presAssocID="{01ABAD6F-877D-4C22-A65B-B140C33C9F96}" presName="bigChev" presStyleLbl="node1" presStyleIdx="0" presStyleCnt="5" custScaleX="154058"/>
      <dgm:spPr/>
    </dgm:pt>
    <dgm:pt modelId="{D67F1B08-5237-46D0-A5E8-B6E29F7EFF27}" type="pres">
      <dgm:prSet presAssocID="{E9B4F44E-BC6B-42F5-B47C-A488853F1A95}" presName="parTrans" presStyleCnt="0"/>
      <dgm:spPr/>
    </dgm:pt>
    <dgm:pt modelId="{C401A0B6-BEA9-4DE4-BC6B-8017AAF44B36}" type="pres">
      <dgm:prSet presAssocID="{E665FE94-669D-42A3-B30F-562290478FA7}" presName="node" presStyleLbl="alignAccFollowNode1" presStyleIdx="0" presStyleCnt="5" custScaleX="178981">
        <dgm:presLayoutVars>
          <dgm:bulletEnabled val="1"/>
        </dgm:presLayoutVars>
      </dgm:prSet>
      <dgm:spPr/>
    </dgm:pt>
    <dgm:pt modelId="{FE7433F3-E475-40CA-82C2-BDDC37383833}" type="pres">
      <dgm:prSet presAssocID="{01ABAD6F-877D-4C22-A65B-B140C33C9F96}" presName="vSp" presStyleCnt="0"/>
      <dgm:spPr/>
    </dgm:pt>
    <dgm:pt modelId="{BA435EB5-2856-4EFE-9597-32A21928153E}" type="pres">
      <dgm:prSet presAssocID="{4AFA23D0-B653-48AA-BA54-5C18D7DC1A0A}" presName="horFlow" presStyleCnt="0"/>
      <dgm:spPr/>
    </dgm:pt>
    <dgm:pt modelId="{285206B3-6D91-471F-B1A2-3B04540E2966}" type="pres">
      <dgm:prSet presAssocID="{4AFA23D0-B653-48AA-BA54-5C18D7DC1A0A}" presName="bigChev" presStyleLbl="node1" presStyleIdx="1" presStyleCnt="5" custScaleX="152683"/>
      <dgm:spPr/>
    </dgm:pt>
    <dgm:pt modelId="{69DD30D4-D224-47D5-8A13-2DAD5918D7C9}" type="pres">
      <dgm:prSet presAssocID="{607D406A-3CB9-4915-8C0C-691980E3E4CD}" presName="parTrans" presStyleCnt="0"/>
      <dgm:spPr/>
    </dgm:pt>
    <dgm:pt modelId="{02D41F55-21ED-4640-AE21-3A550B6CC8BE}" type="pres">
      <dgm:prSet presAssocID="{630631DD-248E-42C4-91C5-3BB40A7E1BA9}" presName="node" presStyleLbl="alignAccFollowNode1" presStyleIdx="1" presStyleCnt="5" custScaleX="182884">
        <dgm:presLayoutVars>
          <dgm:bulletEnabled val="1"/>
        </dgm:presLayoutVars>
      </dgm:prSet>
      <dgm:spPr/>
    </dgm:pt>
    <dgm:pt modelId="{E1A924C6-D9C3-4C6E-AAB0-86E0E1CB1A75}" type="pres">
      <dgm:prSet presAssocID="{4AFA23D0-B653-48AA-BA54-5C18D7DC1A0A}" presName="vSp" presStyleCnt="0"/>
      <dgm:spPr/>
    </dgm:pt>
    <dgm:pt modelId="{D0754118-2032-4083-95F1-2D9142AE714C}" type="pres">
      <dgm:prSet presAssocID="{2DDB1CAE-A3C4-4E74-9BA5-DBDA357AC84E}" presName="horFlow" presStyleCnt="0"/>
      <dgm:spPr/>
    </dgm:pt>
    <dgm:pt modelId="{982DBA9A-49C8-4BF1-BDB8-0AFD83D61C4A}" type="pres">
      <dgm:prSet presAssocID="{2DDB1CAE-A3C4-4E74-9BA5-DBDA357AC84E}" presName="bigChev" presStyleLbl="node1" presStyleIdx="2" presStyleCnt="5" custScaleX="154058"/>
      <dgm:spPr/>
    </dgm:pt>
    <dgm:pt modelId="{C8BFD591-4C5C-4FAF-BE47-5DBFFDCF8D10}" type="pres">
      <dgm:prSet presAssocID="{16B2F4E1-4211-4093-9099-642CA97EAB21}" presName="parTrans" presStyleCnt="0"/>
      <dgm:spPr/>
    </dgm:pt>
    <dgm:pt modelId="{DD90E6E9-2E4F-4965-9DA2-2C0308824A7F}" type="pres">
      <dgm:prSet presAssocID="{CE2B145E-A2C4-4DD5-ACBE-497051DB024C}" presName="node" presStyleLbl="alignAccFollowNode1" presStyleIdx="2" presStyleCnt="5" custScaleX="178981">
        <dgm:presLayoutVars>
          <dgm:bulletEnabled val="1"/>
        </dgm:presLayoutVars>
      </dgm:prSet>
      <dgm:spPr/>
    </dgm:pt>
    <dgm:pt modelId="{98B0E34A-2077-4454-9D94-B7B1D89D17A1}" type="pres">
      <dgm:prSet presAssocID="{2DDB1CAE-A3C4-4E74-9BA5-DBDA357AC84E}" presName="vSp" presStyleCnt="0"/>
      <dgm:spPr/>
    </dgm:pt>
    <dgm:pt modelId="{7D4B54A9-A8EB-4ECB-9FEF-048FE905E89F}" type="pres">
      <dgm:prSet presAssocID="{BD1993C1-1E58-4C62-9211-27414FA467C2}" presName="horFlow" presStyleCnt="0"/>
      <dgm:spPr/>
    </dgm:pt>
    <dgm:pt modelId="{9DAEB434-0767-40A3-80EF-1DC46B90E272}" type="pres">
      <dgm:prSet presAssocID="{BD1993C1-1E58-4C62-9211-27414FA467C2}" presName="bigChev" presStyleLbl="node1" presStyleIdx="3" presStyleCnt="5" custScaleX="154058"/>
      <dgm:spPr/>
    </dgm:pt>
    <dgm:pt modelId="{84E37C84-1DC8-47F9-80FC-11F00ECA8AD7}" type="pres">
      <dgm:prSet presAssocID="{02AD8AF0-1290-4E76-B2EB-7B9B8AF06F65}" presName="parTrans" presStyleCnt="0"/>
      <dgm:spPr/>
    </dgm:pt>
    <dgm:pt modelId="{DA83B583-E7F0-4B8B-AB1A-DE1E98C4BC2A}" type="pres">
      <dgm:prSet presAssocID="{65592EC3-31DA-4DFD-BEB6-9677FCC1A26E}" presName="node" presStyleLbl="alignAccFollowNode1" presStyleIdx="3" presStyleCnt="5" custScaleX="178981">
        <dgm:presLayoutVars>
          <dgm:bulletEnabled val="1"/>
        </dgm:presLayoutVars>
      </dgm:prSet>
      <dgm:spPr/>
    </dgm:pt>
    <dgm:pt modelId="{0EAD7A78-1F03-4E9F-A081-BD193D499483}" type="pres">
      <dgm:prSet presAssocID="{BD1993C1-1E58-4C62-9211-27414FA467C2}" presName="vSp" presStyleCnt="0"/>
      <dgm:spPr/>
    </dgm:pt>
    <dgm:pt modelId="{2B89D498-BC97-47BE-A888-C4550FA76C6D}" type="pres">
      <dgm:prSet presAssocID="{8900BC2E-7DB4-4435-8CCD-BD6F1A50CBCB}" presName="horFlow" presStyleCnt="0"/>
      <dgm:spPr/>
    </dgm:pt>
    <dgm:pt modelId="{4DA0E67F-7720-40F5-9055-803FFF076E16}" type="pres">
      <dgm:prSet presAssocID="{8900BC2E-7DB4-4435-8CCD-BD6F1A50CBCB}" presName="bigChev" presStyleLbl="node1" presStyleIdx="4" presStyleCnt="5" custScaleX="154458"/>
      <dgm:spPr/>
    </dgm:pt>
    <dgm:pt modelId="{8E0CDCF0-58B7-47D5-BD5F-EB647E42E2EF}" type="pres">
      <dgm:prSet presAssocID="{43A478CC-59D0-4AC1-B0A0-1772A700773F}" presName="parTrans" presStyleCnt="0"/>
      <dgm:spPr/>
    </dgm:pt>
    <dgm:pt modelId="{7B2E2EA1-D966-4C03-9B71-D95CDD8144E7}" type="pres">
      <dgm:prSet presAssocID="{0F38EADC-F1FF-42E3-8E2C-55E612FFF142}" presName="node" presStyleLbl="alignAccFollowNode1" presStyleIdx="4" presStyleCnt="5" custScaleX="182748">
        <dgm:presLayoutVars>
          <dgm:bulletEnabled val="1"/>
        </dgm:presLayoutVars>
      </dgm:prSet>
      <dgm:spPr/>
    </dgm:pt>
  </dgm:ptLst>
  <dgm:cxnLst>
    <dgm:cxn modelId="{0E4C8C09-FB98-4F0C-9827-1A8D43732793}" type="presOf" srcId="{E665FE94-669D-42A3-B30F-562290478FA7}" destId="{C401A0B6-BEA9-4DE4-BC6B-8017AAF44B36}" srcOrd="0" destOrd="0" presId="urn:microsoft.com/office/officeart/2005/8/layout/lProcess3"/>
    <dgm:cxn modelId="{A7E3970C-E97F-4F7A-AD7C-8407C7C7EAC3}" srcId="{8900BC2E-7DB4-4435-8CCD-BD6F1A50CBCB}" destId="{0F38EADC-F1FF-42E3-8E2C-55E612FFF142}" srcOrd="0" destOrd="0" parTransId="{43A478CC-59D0-4AC1-B0A0-1772A700773F}" sibTransId="{93DD6EA3-0501-4C21-809C-23B4F1723AED}"/>
    <dgm:cxn modelId="{ED0A4F1D-BAD4-4B27-A0F4-F9BD85D772A9}" srcId="{01ABAD6F-877D-4C22-A65B-B140C33C9F96}" destId="{E665FE94-669D-42A3-B30F-562290478FA7}" srcOrd="0" destOrd="0" parTransId="{E9B4F44E-BC6B-42F5-B47C-A488853F1A95}" sibTransId="{68187E21-1F3E-426C-9873-BC49CAF743DA}"/>
    <dgm:cxn modelId="{04C6082F-2FC2-4B50-8B02-0D1E3EEF05C6}" type="presOf" srcId="{01ABAD6F-877D-4C22-A65B-B140C33C9F96}" destId="{C9E31800-FD96-4EAC-AE46-B10772A0F21D}" srcOrd="0" destOrd="0" presId="urn:microsoft.com/office/officeart/2005/8/layout/lProcess3"/>
    <dgm:cxn modelId="{9A3DD03C-88C8-4C31-A483-7C7B74A8870C}" type="presOf" srcId="{2DDB1CAE-A3C4-4E74-9BA5-DBDA357AC84E}" destId="{982DBA9A-49C8-4BF1-BDB8-0AFD83D61C4A}" srcOrd="0" destOrd="0" presId="urn:microsoft.com/office/officeart/2005/8/layout/lProcess3"/>
    <dgm:cxn modelId="{3E58903E-9679-4E55-93B0-B17B7813A97B}" srcId="{49C8CBF9-CA2B-4BB9-8445-CBA809C479E7}" destId="{BD1993C1-1E58-4C62-9211-27414FA467C2}" srcOrd="3" destOrd="0" parTransId="{722C8E62-EFA6-4D45-99E2-2EF1825E4B8C}" sibTransId="{03E2D3DC-BCA6-4FF3-ABFA-DF4182A50A82}"/>
    <dgm:cxn modelId="{B5486A42-A256-4B28-8FF0-92916E6BEA9B}" type="presOf" srcId="{BD1993C1-1E58-4C62-9211-27414FA467C2}" destId="{9DAEB434-0767-40A3-80EF-1DC46B90E272}" srcOrd="0" destOrd="0" presId="urn:microsoft.com/office/officeart/2005/8/layout/lProcess3"/>
    <dgm:cxn modelId="{4A45FC45-592D-44E0-8DEF-00DB17144B2D}" type="presOf" srcId="{630631DD-248E-42C4-91C5-3BB40A7E1BA9}" destId="{02D41F55-21ED-4640-AE21-3A550B6CC8BE}" srcOrd="0" destOrd="0" presId="urn:microsoft.com/office/officeart/2005/8/layout/lProcess3"/>
    <dgm:cxn modelId="{DEEA5C6D-2A07-4802-AF4A-C7F6D6AE86B5}" srcId="{49C8CBF9-CA2B-4BB9-8445-CBA809C479E7}" destId="{8900BC2E-7DB4-4435-8CCD-BD6F1A50CBCB}" srcOrd="4" destOrd="0" parTransId="{7F11E470-6285-48CB-A113-0258DB1F7F1C}" sibTransId="{476E16BB-E92E-4694-94D0-5D8A1F413237}"/>
    <dgm:cxn modelId="{E465C47C-2D47-4BB6-BDB6-BEC4ADC2CC51}" srcId="{49C8CBF9-CA2B-4BB9-8445-CBA809C479E7}" destId="{4AFA23D0-B653-48AA-BA54-5C18D7DC1A0A}" srcOrd="1" destOrd="0" parTransId="{55493177-FD42-42DE-8180-CF46750C930B}" sibTransId="{F90090C5-1F1F-45E2-B52A-B60A2DD67F24}"/>
    <dgm:cxn modelId="{9A05118D-2DAB-4EA0-A89A-44D3E8904E11}" type="presOf" srcId="{0F38EADC-F1FF-42E3-8E2C-55E612FFF142}" destId="{7B2E2EA1-D966-4C03-9B71-D95CDD8144E7}" srcOrd="0" destOrd="0" presId="urn:microsoft.com/office/officeart/2005/8/layout/lProcess3"/>
    <dgm:cxn modelId="{29E92C98-4E60-4FED-856D-8667D8077A60}" type="presOf" srcId="{49C8CBF9-CA2B-4BB9-8445-CBA809C479E7}" destId="{B928BBF2-8716-4D25-906A-4461A1EBDA26}" srcOrd="0" destOrd="0" presId="urn:microsoft.com/office/officeart/2005/8/layout/lProcess3"/>
    <dgm:cxn modelId="{4F6E9FA7-539F-4AEA-AFF7-16791DE75139}" type="presOf" srcId="{8900BC2E-7DB4-4435-8CCD-BD6F1A50CBCB}" destId="{4DA0E67F-7720-40F5-9055-803FFF076E16}" srcOrd="0" destOrd="0" presId="urn:microsoft.com/office/officeart/2005/8/layout/lProcess3"/>
    <dgm:cxn modelId="{1FF58FAA-7E84-4D11-B065-DC63B82796B3}" srcId="{49C8CBF9-CA2B-4BB9-8445-CBA809C479E7}" destId="{01ABAD6F-877D-4C22-A65B-B140C33C9F96}" srcOrd="0" destOrd="0" parTransId="{BAEC61B1-B878-453B-8935-86F9789B4DBB}" sibTransId="{10D3C67D-5384-4F07-82B2-4A873F2A200E}"/>
    <dgm:cxn modelId="{EF002FAC-F023-4A55-8260-BB8A449F9938}" srcId="{BD1993C1-1E58-4C62-9211-27414FA467C2}" destId="{65592EC3-31DA-4DFD-BEB6-9677FCC1A26E}" srcOrd="0" destOrd="0" parTransId="{02AD8AF0-1290-4E76-B2EB-7B9B8AF06F65}" sibTransId="{9AEEFCD6-E29F-4731-8435-789BFB887D32}"/>
    <dgm:cxn modelId="{73DF88DD-EB8B-4EB1-8A77-CAC4DCB1E77A}" srcId="{2DDB1CAE-A3C4-4E74-9BA5-DBDA357AC84E}" destId="{CE2B145E-A2C4-4DD5-ACBE-497051DB024C}" srcOrd="0" destOrd="0" parTransId="{16B2F4E1-4211-4093-9099-642CA97EAB21}" sibTransId="{16BCB533-1FE0-437A-B960-374474DC2798}"/>
    <dgm:cxn modelId="{34AFAAE2-FEFD-45B6-B250-FEDEE4609343}" type="presOf" srcId="{CE2B145E-A2C4-4DD5-ACBE-497051DB024C}" destId="{DD90E6E9-2E4F-4965-9DA2-2C0308824A7F}" srcOrd="0" destOrd="0" presId="urn:microsoft.com/office/officeart/2005/8/layout/lProcess3"/>
    <dgm:cxn modelId="{49FE99ED-95D8-4936-A017-60124EB7D391}" type="presOf" srcId="{65592EC3-31DA-4DFD-BEB6-9677FCC1A26E}" destId="{DA83B583-E7F0-4B8B-AB1A-DE1E98C4BC2A}" srcOrd="0" destOrd="0" presId="urn:microsoft.com/office/officeart/2005/8/layout/lProcess3"/>
    <dgm:cxn modelId="{89317EF0-B701-4A0E-8273-E972A93108EA}" type="presOf" srcId="{4AFA23D0-B653-48AA-BA54-5C18D7DC1A0A}" destId="{285206B3-6D91-471F-B1A2-3B04540E2966}" srcOrd="0" destOrd="0" presId="urn:microsoft.com/office/officeart/2005/8/layout/lProcess3"/>
    <dgm:cxn modelId="{988990F0-A8AD-4C99-82D7-EE95D97420E7}" srcId="{4AFA23D0-B653-48AA-BA54-5C18D7DC1A0A}" destId="{630631DD-248E-42C4-91C5-3BB40A7E1BA9}" srcOrd="0" destOrd="0" parTransId="{607D406A-3CB9-4915-8C0C-691980E3E4CD}" sibTransId="{3E799895-A4CF-4A13-ADFF-81A195C16726}"/>
    <dgm:cxn modelId="{C91106F4-717A-490E-962E-7F18E6E45452}" srcId="{49C8CBF9-CA2B-4BB9-8445-CBA809C479E7}" destId="{2DDB1CAE-A3C4-4E74-9BA5-DBDA357AC84E}" srcOrd="2" destOrd="0" parTransId="{AD06718C-C932-4BF2-9639-898CC9C43CFB}" sibTransId="{170419F1-FDA9-40D8-B219-00FF0F1F9B28}"/>
    <dgm:cxn modelId="{38424071-B865-4A13-B6DC-BB95069B1A0F}" type="presParOf" srcId="{B928BBF2-8716-4D25-906A-4461A1EBDA26}" destId="{4D02A8B9-CADC-40AC-8451-E16FBFCC9168}" srcOrd="0" destOrd="0" presId="urn:microsoft.com/office/officeart/2005/8/layout/lProcess3"/>
    <dgm:cxn modelId="{89A591E8-802B-44E6-A835-733114FEC205}" type="presParOf" srcId="{4D02A8B9-CADC-40AC-8451-E16FBFCC9168}" destId="{C9E31800-FD96-4EAC-AE46-B10772A0F21D}" srcOrd="0" destOrd="0" presId="urn:microsoft.com/office/officeart/2005/8/layout/lProcess3"/>
    <dgm:cxn modelId="{86363879-B07F-4437-9B66-A1F946E05285}" type="presParOf" srcId="{4D02A8B9-CADC-40AC-8451-E16FBFCC9168}" destId="{D67F1B08-5237-46D0-A5E8-B6E29F7EFF27}" srcOrd="1" destOrd="0" presId="urn:microsoft.com/office/officeart/2005/8/layout/lProcess3"/>
    <dgm:cxn modelId="{D4C1C975-9B75-4C89-9329-6A083C48EB1D}" type="presParOf" srcId="{4D02A8B9-CADC-40AC-8451-E16FBFCC9168}" destId="{C401A0B6-BEA9-4DE4-BC6B-8017AAF44B36}" srcOrd="2" destOrd="0" presId="urn:microsoft.com/office/officeart/2005/8/layout/lProcess3"/>
    <dgm:cxn modelId="{7786F660-EE77-4A1F-A2FB-7809B4590005}" type="presParOf" srcId="{B928BBF2-8716-4D25-906A-4461A1EBDA26}" destId="{FE7433F3-E475-40CA-82C2-BDDC37383833}" srcOrd="1" destOrd="0" presId="urn:microsoft.com/office/officeart/2005/8/layout/lProcess3"/>
    <dgm:cxn modelId="{1FFE4590-6491-4C48-AB85-C7A6AA24A7B2}" type="presParOf" srcId="{B928BBF2-8716-4D25-906A-4461A1EBDA26}" destId="{BA435EB5-2856-4EFE-9597-32A21928153E}" srcOrd="2" destOrd="0" presId="urn:microsoft.com/office/officeart/2005/8/layout/lProcess3"/>
    <dgm:cxn modelId="{D525D71D-000F-43B4-A3AB-1EA2ADD9557D}" type="presParOf" srcId="{BA435EB5-2856-4EFE-9597-32A21928153E}" destId="{285206B3-6D91-471F-B1A2-3B04540E2966}" srcOrd="0" destOrd="0" presId="urn:microsoft.com/office/officeart/2005/8/layout/lProcess3"/>
    <dgm:cxn modelId="{A9380764-C769-46F9-A610-6302BE31F3CE}" type="presParOf" srcId="{BA435EB5-2856-4EFE-9597-32A21928153E}" destId="{69DD30D4-D224-47D5-8A13-2DAD5918D7C9}" srcOrd="1" destOrd="0" presId="urn:microsoft.com/office/officeart/2005/8/layout/lProcess3"/>
    <dgm:cxn modelId="{31A512A7-3259-4F7A-A76C-769B90838C0A}" type="presParOf" srcId="{BA435EB5-2856-4EFE-9597-32A21928153E}" destId="{02D41F55-21ED-4640-AE21-3A550B6CC8BE}" srcOrd="2" destOrd="0" presId="urn:microsoft.com/office/officeart/2005/8/layout/lProcess3"/>
    <dgm:cxn modelId="{13CC632C-E8BB-4422-9D71-F46011CBC848}" type="presParOf" srcId="{B928BBF2-8716-4D25-906A-4461A1EBDA26}" destId="{E1A924C6-D9C3-4C6E-AAB0-86E0E1CB1A75}" srcOrd="3" destOrd="0" presId="urn:microsoft.com/office/officeart/2005/8/layout/lProcess3"/>
    <dgm:cxn modelId="{CF0AE258-8E57-4D21-95D3-CF20952012E7}" type="presParOf" srcId="{B928BBF2-8716-4D25-906A-4461A1EBDA26}" destId="{D0754118-2032-4083-95F1-2D9142AE714C}" srcOrd="4" destOrd="0" presId="urn:microsoft.com/office/officeart/2005/8/layout/lProcess3"/>
    <dgm:cxn modelId="{4AC85EF1-CE43-464A-98B8-11D9B2917518}" type="presParOf" srcId="{D0754118-2032-4083-95F1-2D9142AE714C}" destId="{982DBA9A-49C8-4BF1-BDB8-0AFD83D61C4A}" srcOrd="0" destOrd="0" presId="urn:microsoft.com/office/officeart/2005/8/layout/lProcess3"/>
    <dgm:cxn modelId="{AA696594-77C7-4FE1-AA92-CEC61B9575F4}" type="presParOf" srcId="{D0754118-2032-4083-95F1-2D9142AE714C}" destId="{C8BFD591-4C5C-4FAF-BE47-5DBFFDCF8D10}" srcOrd="1" destOrd="0" presId="urn:microsoft.com/office/officeart/2005/8/layout/lProcess3"/>
    <dgm:cxn modelId="{B1BF4048-C934-41FE-BDEF-696E539E16AA}" type="presParOf" srcId="{D0754118-2032-4083-95F1-2D9142AE714C}" destId="{DD90E6E9-2E4F-4965-9DA2-2C0308824A7F}" srcOrd="2" destOrd="0" presId="urn:microsoft.com/office/officeart/2005/8/layout/lProcess3"/>
    <dgm:cxn modelId="{DA6B2FA9-56DC-4AEC-B4C3-1BAAECABF565}" type="presParOf" srcId="{B928BBF2-8716-4D25-906A-4461A1EBDA26}" destId="{98B0E34A-2077-4454-9D94-B7B1D89D17A1}" srcOrd="5" destOrd="0" presId="urn:microsoft.com/office/officeart/2005/8/layout/lProcess3"/>
    <dgm:cxn modelId="{4E50DB4F-B6F0-422C-97B1-B049F573F4EA}" type="presParOf" srcId="{B928BBF2-8716-4D25-906A-4461A1EBDA26}" destId="{7D4B54A9-A8EB-4ECB-9FEF-048FE905E89F}" srcOrd="6" destOrd="0" presId="urn:microsoft.com/office/officeart/2005/8/layout/lProcess3"/>
    <dgm:cxn modelId="{8EC1EC8F-6AF0-461E-BA84-3E5966D618FA}" type="presParOf" srcId="{7D4B54A9-A8EB-4ECB-9FEF-048FE905E89F}" destId="{9DAEB434-0767-40A3-80EF-1DC46B90E272}" srcOrd="0" destOrd="0" presId="urn:microsoft.com/office/officeart/2005/8/layout/lProcess3"/>
    <dgm:cxn modelId="{B5CE27B2-DA90-4A37-8C57-BBA78979212A}" type="presParOf" srcId="{7D4B54A9-A8EB-4ECB-9FEF-048FE905E89F}" destId="{84E37C84-1DC8-47F9-80FC-11F00ECA8AD7}" srcOrd="1" destOrd="0" presId="urn:microsoft.com/office/officeart/2005/8/layout/lProcess3"/>
    <dgm:cxn modelId="{DFD6102A-4127-4E62-9C9E-F343530FB771}" type="presParOf" srcId="{7D4B54A9-A8EB-4ECB-9FEF-048FE905E89F}" destId="{DA83B583-E7F0-4B8B-AB1A-DE1E98C4BC2A}" srcOrd="2" destOrd="0" presId="urn:microsoft.com/office/officeart/2005/8/layout/lProcess3"/>
    <dgm:cxn modelId="{D9FCBAEB-4FFA-4F9F-9699-B38E3508A3DE}" type="presParOf" srcId="{B928BBF2-8716-4D25-906A-4461A1EBDA26}" destId="{0EAD7A78-1F03-4E9F-A081-BD193D499483}" srcOrd="7" destOrd="0" presId="urn:microsoft.com/office/officeart/2005/8/layout/lProcess3"/>
    <dgm:cxn modelId="{5558EBC3-DD53-49B6-BE00-47A3667566CE}" type="presParOf" srcId="{B928BBF2-8716-4D25-906A-4461A1EBDA26}" destId="{2B89D498-BC97-47BE-A888-C4550FA76C6D}" srcOrd="8" destOrd="0" presId="urn:microsoft.com/office/officeart/2005/8/layout/lProcess3"/>
    <dgm:cxn modelId="{3EC04C1B-D61E-47CB-B404-FD5FE0840213}" type="presParOf" srcId="{2B89D498-BC97-47BE-A888-C4550FA76C6D}" destId="{4DA0E67F-7720-40F5-9055-803FFF076E16}" srcOrd="0" destOrd="0" presId="urn:microsoft.com/office/officeart/2005/8/layout/lProcess3"/>
    <dgm:cxn modelId="{D8951237-BC8C-40B2-9BE5-9DD3D243DA1A}" type="presParOf" srcId="{2B89D498-BC97-47BE-A888-C4550FA76C6D}" destId="{8E0CDCF0-58B7-47D5-BD5F-EB647E42E2EF}" srcOrd="1" destOrd="0" presId="urn:microsoft.com/office/officeart/2005/8/layout/lProcess3"/>
    <dgm:cxn modelId="{0302B020-D66D-4BB3-9DF7-37E3FDB5F2CC}" type="presParOf" srcId="{2B89D498-BC97-47BE-A888-C4550FA76C6D}" destId="{7B2E2EA1-D966-4C03-9B71-D95CDD8144E7}" srcOrd="2"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E874FD9-0161-4522-88F1-B2415FA823C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CL"/>
        </a:p>
      </dgm:t>
    </dgm:pt>
    <dgm:pt modelId="{0BDB2C96-7328-4C38-80DD-11045274FA0D}">
      <dgm:prSet phldrT="[Texto]" custT="1"/>
      <dgm:spPr/>
      <dgm:t>
        <a:bodyPr/>
        <a:lstStyle/>
        <a:p>
          <a:r>
            <a:rPr lang="es-MX" sz="1900" dirty="0"/>
            <a:t>TÉCNICOS EN SALUD DE NIVEL SUPERIOR</a:t>
          </a:r>
          <a:endParaRPr lang="es-CL" sz="1900" dirty="0"/>
        </a:p>
      </dgm:t>
    </dgm:pt>
    <dgm:pt modelId="{164C667E-4F97-4E1F-A44F-86B7889C7B63}" type="parTrans" cxnId="{518B1E94-8926-4E1F-B031-C32E466DF544}">
      <dgm:prSet/>
      <dgm:spPr/>
      <dgm:t>
        <a:bodyPr/>
        <a:lstStyle/>
        <a:p>
          <a:endParaRPr lang="es-CL"/>
        </a:p>
      </dgm:t>
    </dgm:pt>
    <dgm:pt modelId="{C988B7E8-D776-441A-97B6-D2B9961A5FEC}" type="sibTrans" cxnId="{518B1E94-8926-4E1F-B031-C32E466DF544}">
      <dgm:prSet/>
      <dgm:spPr/>
      <dgm:t>
        <a:bodyPr/>
        <a:lstStyle/>
        <a:p>
          <a:endParaRPr lang="es-CL"/>
        </a:p>
      </dgm:t>
    </dgm:pt>
    <dgm:pt modelId="{46CC23D6-3B57-40D3-91F7-464046584573}">
      <dgm:prSet phldrT="[Texto]" custT="1"/>
      <dgm:spPr>
        <a:solidFill>
          <a:srgbClr val="4472C4">
            <a:hueOff val="0"/>
            <a:satOff val="0"/>
            <a:lumOff val="0"/>
            <a:alphaOff val="0"/>
          </a:srgbClr>
        </a:solidFill>
        <a:ln w="25400" cap="flat" cmpd="sng" algn="ctr">
          <a:solidFill>
            <a:srgbClr val="FFFFFF">
              <a:hueOff val="0"/>
              <a:satOff val="0"/>
              <a:lumOff val="0"/>
              <a:alphaOff val="0"/>
            </a:srgbClr>
          </a:solidFill>
          <a:prstDash val="solid"/>
        </a:ln>
        <a:effectLst/>
      </dgm:spPr>
      <dgm:t>
        <a:bodyPr spcFirstLastPara="0" vert="horz" wrap="square" lIns="215053" tIns="0" rIns="215053" bIns="0" numCol="1" spcCol="1270" anchor="ctr" anchorCtr="0"/>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TÉCNICOS DE ENFERMERÍA DE NIVEL SUPERIOR</a:t>
          </a:r>
        </a:p>
      </dgm:t>
    </dgm:pt>
    <dgm:pt modelId="{8A25D0B4-0EA2-4489-9E22-D46A821B513C}" type="parTrans" cxnId="{08FFD7E4-9767-4178-951F-3E4EB455715F}">
      <dgm:prSet/>
      <dgm:spPr/>
      <dgm:t>
        <a:bodyPr/>
        <a:lstStyle/>
        <a:p>
          <a:endParaRPr lang="es-CL"/>
        </a:p>
      </dgm:t>
    </dgm:pt>
    <dgm:pt modelId="{3A3D9006-08E5-43AA-B2F5-12AA47155D55}" type="sibTrans" cxnId="{08FFD7E4-9767-4178-951F-3E4EB455715F}">
      <dgm:prSet/>
      <dgm:spPr/>
      <dgm:t>
        <a:bodyPr/>
        <a:lstStyle/>
        <a:p>
          <a:endParaRPr lang="es-CL"/>
        </a:p>
      </dgm:t>
    </dgm:pt>
    <dgm:pt modelId="{B7B9EF15-4AE8-48C1-B3E9-1E94281240FD}">
      <dgm:prSet phldrT="[Texto]" custT="1"/>
      <dgm:spPr>
        <a:solidFill>
          <a:srgbClr val="C00000"/>
        </a:solidFill>
        <a:ln w="25400" cap="flat" cmpd="sng" algn="ctr">
          <a:solidFill>
            <a:srgbClr val="FFFFFF">
              <a:hueOff val="0"/>
              <a:satOff val="0"/>
              <a:lumOff val="0"/>
              <a:alphaOff val="0"/>
            </a:srgbClr>
          </a:solidFill>
          <a:prstDash val="solid"/>
        </a:ln>
        <a:effectLst/>
      </dgm:spPr>
      <dgm:t>
        <a:bodyPr spcFirstLastPara="0" vert="horz" wrap="square" lIns="215053" tIns="0" rIns="215053" bIns="0" numCol="1" spcCol="1270" anchor="ctr" anchorCtr="0"/>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LABORATORISTA DENTAL</a:t>
          </a:r>
        </a:p>
      </dgm:t>
    </dgm:pt>
    <dgm:pt modelId="{18E8762A-F9D6-4973-906A-69F0AD57F576}" type="parTrans" cxnId="{EE860212-A160-4A4E-9349-34A2BAF69963}">
      <dgm:prSet/>
      <dgm:spPr/>
      <dgm:t>
        <a:bodyPr/>
        <a:lstStyle/>
        <a:p>
          <a:endParaRPr lang="es-CL"/>
        </a:p>
      </dgm:t>
    </dgm:pt>
    <dgm:pt modelId="{E0567EF7-B0E5-4EDE-A1DD-C138116DD7A8}" type="sibTrans" cxnId="{EE860212-A160-4A4E-9349-34A2BAF69963}">
      <dgm:prSet/>
      <dgm:spPr/>
      <dgm:t>
        <a:bodyPr/>
        <a:lstStyle/>
        <a:p>
          <a:endParaRPr lang="es-CL"/>
        </a:p>
      </dgm:t>
    </dgm:pt>
    <dgm:pt modelId="{A799538B-680B-449E-8D3E-A1868313E43F}">
      <dgm:prSet custT="1"/>
      <dgm:spPr/>
      <dgm:t>
        <a:bodyPr/>
        <a:lstStyle/>
        <a:p>
          <a:r>
            <a:rPr lang="es-CL" sz="1900" dirty="0">
              <a:solidFill>
                <a:srgbClr val="FFFFFF"/>
              </a:solidFill>
              <a:latin typeface="Arial"/>
              <a:ea typeface="+mn-ea"/>
              <a:cs typeface="+mn-cs"/>
            </a:rPr>
            <a:t>TÉCNICOS DE ODONTOLOGÍA DE NIVEL SUPERIOR</a:t>
          </a:r>
        </a:p>
      </dgm:t>
    </dgm:pt>
    <dgm:pt modelId="{62933074-1C7E-4906-9B43-DA21AE3E732D}" type="parTrans" cxnId="{DBEE47C3-8EE2-4156-8710-FCD681D1A8E1}">
      <dgm:prSet/>
      <dgm:spPr/>
      <dgm:t>
        <a:bodyPr/>
        <a:lstStyle/>
        <a:p>
          <a:endParaRPr lang="es-CL"/>
        </a:p>
      </dgm:t>
    </dgm:pt>
    <dgm:pt modelId="{57929EE8-8785-45FD-A05E-75129081EFBD}" type="sibTrans" cxnId="{DBEE47C3-8EE2-4156-8710-FCD681D1A8E1}">
      <dgm:prSet/>
      <dgm:spPr/>
      <dgm:t>
        <a:bodyPr/>
        <a:lstStyle/>
        <a:p>
          <a:endParaRPr lang="es-CL"/>
        </a:p>
      </dgm:t>
    </dgm:pt>
    <dgm:pt modelId="{6CA5246C-1974-424B-B053-A488AE7A9CC8}" type="pres">
      <dgm:prSet presAssocID="{FE874FD9-0161-4522-88F1-B2415FA823CE}" presName="linear" presStyleCnt="0">
        <dgm:presLayoutVars>
          <dgm:dir/>
          <dgm:animLvl val="lvl"/>
          <dgm:resizeHandles val="exact"/>
        </dgm:presLayoutVars>
      </dgm:prSet>
      <dgm:spPr/>
    </dgm:pt>
    <dgm:pt modelId="{17CF2504-43CA-4C1C-81D2-1A7F022FE502}" type="pres">
      <dgm:prSet presAssocID="{0BDB2C96-7328-4C38-80DD-11045274FA0D}" presName="parentLin" presStyleCnt="0"/>
      <dgm:spPr/>
    </dgm:pt>
    <dgm:pt modelId="{90C20E78-EE46-4056-84D4-DEBD79F06EF1}" type="pres">
      <dgm:prSet presAssocID="{0BDB2C96-7328-4C38-80DD-11045274FA0D}" presName="parentLeftMargin" presStyleLbl="node1" presStyleIdx="0" presStyleCnt="4"/>
      <dgm:spPr/>
    </dgm:pt>
    <dgm:pt modelId="{EEEFF6E9-D472-4E6A-8E13-F7B16B278C72}" type="pres">
      <dgm:prSet presAssocID="{0BDB2C96-7328-4C38-80DD-11045274FA0D}" presName="parentText" presStyleLbl="node1" presStyleIdx="0" presStyleCnt="4">
        <dgm:presLayoutVars>
          <dgm:chMax val="0"/>
          <dgm:bulletEnabled val="1"/>
        </dgm:presLayoutVars>
      </dgm:prSet>
      <dgm:spPr/>
    </dgm:pt>
    <dgm:pt modelId="{9F305785-D28C-475D-88A8-9E7ED308E8E8}" type="pres">
      <dgm:prSet presAssocID="{0BDB2C96-7328-4C38-80DD-11045274FA0D}" presName="negativeSpace" presStyleCnt="0"/>
      <dgm:spPr/>
    </dgm:pt>
    <dgm:pt modelId="{E5723921-3EC5-4EF1-913F-9784C9329F5D}" type="pres">
      <dgm:prSet presAssocID="{0BDB2C96-7328-4C38-80DD-11045274FA0D}" presName="childText" presStyleLbl="conFgAcc1" presStyleIdx="0" presStyleCnt="4">
        <dgm:presLayoutVars>
          <dgm:bulletEnabled val="1"/>
        </dgm:presLayoutVars>
      </dgm:prSet>
      <dgm:spPr/>
    </dgm:pt>
    <dgm:pt modelId="{21BA7DC7-19E8-4FBB-9425-B38ADA9A3F99}" type="pres">
      <dgm:prSet presAssocID="{C988B7E8-D776-441A-97B6-D2B9961A5FEC}" presName="spaceBetweenRectangles" presStyleCnt="0"/>
      <dgm:spPr/>
    </dgm:pt>
    <dgm:pt modelId="{1B960EF1-B84C-490F-9885-D58455E00344}" type="pres">
      <dgm:prSet presAssocID="{46CC23D6-3B57-40D3-91F7-464046584573}" presName="parentLin" presStyleCnt="0"/>
      <dgm:spPr/>
    </dgm:pt>
    <dgm:pt modelId="{9F6F084A-1A11-4B8C-A183-3869796AFF11}" type="pres">
      <dgm:prSet presAssocID="{46CC23D6-3B57-40D3-91F7-464046584573}" presName="parentLeftMargin" presStyleLbl="node1" presStyleIdx="0" presStyleCnt="4"/>
      <dgm:spPr/>
    </dgm:pt>
    <dgm:pt modelId="{A2DB0CD6-1136-42A9-B8F2-28FDFA315584}" type="pres">
      <dgm:prSet presAssocID="{46CC23D6-3B57-40D3-91F7-464046584573}" presName="parentText" presStyleLbl="node1" presStyleIdx="1" presStyleCnt="4" custScaleX="118321">
        <dgm:presLayoutVars>
          <dgm:chMax val="0"/>
          <dgm:bulletEnabled val="1"/>
        </dgm:presLayoutVars>
      </dgm:prSet>
      <dgm:spPr>
        <a:xfrm>
          <a:off x="406400" y="936256"/>
          <a:ext cx="5689600" cy="560880"/>
        </a:xfrm>
        <a:prstGeom prst="roundRect">
          <a:avLst/>
        </a:prstGeom>
      </dgm:spPr>
    </dgm:pt>
    <dgm:pt modelId="{562F5320-1DAE-4988-A6EC-D9ED04A76F66}" type="pres">
      <dgm:prSet presAssocID="{46CC23D6-3B57-40D3-91F7-464046584573}" presName="negativeSpace" presStyleCnt="0"/>
      <dgm:spPr/>
    </dgm:pt>
    <dgm:pt modelId="{1DE297D5-5B46-4150-A37B-4FE63CD9A2B5}" type="pres">
      <dgm:prSet presAssocID="{46CC23D6-3B57-40D3-91F7-464046584573}" presName="childText" presStyleLbl="conFgAcc1" presStyleIdx="1" presStyleCnt="4">
        <dgm:presLayoutVars>
          <dgm:bulletEnabled val="1"/>
        </dgm:presLayoutVars>
      </dgm:prSet>
      <dgm:spPr/>
    </dgm:pt>
    <dgm:pt modelId="{C3AA3D4D-22B6-4BCE-ABE2-CFD01730F289}" type="pres">
      <dgm:prSet presAssocID="{3A3D9006-08E5-43AA-B2F5-12AA47155D55}" presName="spaceBetweenRectangles" presStyleCnt="0"/>
      <dgm:spPr/>
    </dgm:pt>
    <dgm:pt modelId="{B933CC68-39BD-4EB7-8974-1FFD1C6C3936}" type="pres">
      <dgm:prSet presAssocID="{A799538B-680B-449E-8D3E-A1868313E43F}" presName="parentLin" presStyleCnt="0"/>
      <dgm:spPr/>
    </dgm:pt>
    <dgm:pt modelId="{E3DBA316-26C2-40DE-A0B7-9B90557FB902}" type="pres">
      <dgm:prSet presAssocID="{A799538B-680B-449E-8D3E-A1868313E43F}" presName="parentLeftMargin" presStyleLbl="node1" presStyleIdx="1" presStyleCnt="4"/>
      <dgm:spPr/>
    </dgm:pt>
    <dgm:pt modelId="{2CF22B47-DA30-4117-9B05-EAC20E9B1AE4}" type="pres">
      <dgm:prSet presAssocID="{A799538B-680B-449E-8D3E-A1868313E43F}" presName="parentText" presStyleLbl="node1" presStyleIdx="2" presStyleCnt="4" custScaleX="118321">
        <dgm:presLayoutVars>
          <dgm:chMax val="0"/>
          <dgm:bulletEnabled val="1"/>
        </dgm:presLayoutVars>
      </dgm:prSet>
      <dgm:spPr/>
    </dgm:pt>
    <dgm:pt modelId="{65B240A9-3713-4F43-B54B-B703EC3A873E}" type="pres">
      <dgm:prSet presAssocID="{A799538B-680B-449E-8D3E-A1868313E43F}" presName="negativeSpace" presStyleCnt="0"/>
      <dgm:spPr/>
    </dgm:pt>
    <dgm:pt modelId="{C5DB52DE-FF7E-4D3A-84E5-A0F5CF666A8F}" type="pres">
      <dgm:prSet presAssocID="{A799538B-680B-449E-8D3E-A1868313E43F}" presName="childText" presStyleLbl="conFgAcc1" presStyleIdx="2" presStyleCnt="4">
        <dgm:presLayoutVars>
          <dgm:bulletEnabled val="1"/>
        </dgm:presLayoutVars>
      </dgm:prSet>
      <dgm:spPr/>
    </dgm:pt>
    <dgm:pt modelId="{281879A7-D874-49B6-9030-9CCF0E2A617A}" type="pres">
      <dgm:prSet presAssocID="{57929EE8-8785-45FD-A05E-75129081EFBD}" presName="spaceBetweenRectangles" presStyleCnt="0"/>
      <dgm:spPr/>
    </dgm:pt>
    <dgm:pt modelId="{9EC13B98-F286-4D48-9951-23DC1C06F943}" type="pres">
      <dgm:prSet presAssocID="{B7B9EF15-4AE8-48C1-B3E9-1E94281240FD}" presName="parentLin" presStyleCnt="0"/>
      <dgm:spPr/>
    </dgm:pt>
    <dgm:pt modelId="{01E3D856-61A3-4E3E-8529-4DE4EC154601}" type="pres">
      <dgm:prSet presAssocID="{B7B9EF15-4AE8-48C1-B3E9-1E94281240FD}" presName="parentLeftMargin" presStyleLbl="node1" presStyleIdx="2" presStyleCnt="4"/>
      <dgm:spPr/>
    </dgm:pt>
    <dgm:pt modelId="{7A105291-DD7D-44C5-9229-49997736D2A6}" type="pres">
      <dgm:prSet presAssocID="{B7B9EF15-4AE8-48C1-B3E9-1E94281240FD}" presName="parentText" presStyleLbl="node1" presStyleIdx="3" presStyleCnt="4">
        <dgm:presLayoutVars>
          <dgm:chMax val="0"/>
          <dgm:bulletEnabled val="1"/>
        </dgm:presLayoutVars>
      </dgm:prSet>
      <dgm:spPr>
        <a:xfrm>
          <a:off x="406400" y="2659936"/>
          <a:ext cx="5689600" cy="560880"/>
        </a:xfrm>
        <a:prstGeom prst="roundRect">
          <a:avLst/>
        </a:prstGeom>
      </dgm:spPr>
    </dgm:pt>
    <dgm:pt modelId="{E0C9079B-45A0-48FE-AE08-D368A64165EE}" type="pres">
      <dgm:prSet presAssocID="{B7B9EF15-4AE8-48C1-B3E9-1E94281240FD}" presName="negativeSpace" presStyleCnt="0"/>
      <dgm:spPr/>
    </dgm:pt>
    <dgm:pt modelId="{085E40D1-76D7-423C-9930-75FF755922A5}" type="pres">
      <dgm:prSet presAssocID="{B7B9EF15-4AE8-48C1-B3E9-1E94281240FD}" presName="childText" presStyleLbl="conFgAcc1" presStyleIdx="3" presStyleCnt="4">
        <dgm:presLayoutVars>
          <dgm:bulletEnabled val="1"/>
        </dgm:presLayoutVars>
      </dgm:prSet>
      <dgm:spPr/>
    </dgm:pt>
  </dgm:ptLst>
  <dgm:cxnLst>
    <dgm:cxn modelId="{055BE805-A89E-4AB6-8F01-DB7E6B00477D}" type="presOf" srcId="{FE874FD9-0161-4522-88F1-B2415FA823CE}" destId="{6CA5246C-1974-424B-B053-A488AE7A9CC8}" srcOrd="0" destOrd="0" presId="urn:microsoft.com/office/officeart/2005/8/layout/list1"/>
    <dgm:cxn modelId="{EE860212-A160-4A4E-9349-34A2BAF69963}" srcId="{FE874FD9-0161-4522-88F1-B2415FA823CE}" destId="{B7B9EF15-4AE8-48C1-B3E9-1E94281240FD}" srcOrd="3" destOrd="0" parTransId="{18E8762A-F9D6-4973-906A-69F0AD57F576}" sibTransId="{E0567EF7-B0E5-4EDE-A1DD-C138116DD7A8}"/>
    <dgm:cxn modelId="{E543A560-8BA1-47C0-AE84-B92A0F244106}" type="presOf" srcId="{0BDB2C96-7328-4C38-80DD-11045274FA0D}" destId="{90C20E78-EE46-4056-84D4-DEBD79F06EF1}" srcOrd="0" destOrd="0" presId="urn:microsoft.com/office/officeart/2005/8/layout/list1"/>
    <dgm:cxn modelId="{24FAB949-5B57-4C34-8529-8EBC90D73EEC}" type="presOf" srcId="{46CC23D6-3B57-40D3-91F7-464046584573}" destId="{9F6F084A-1A11-4B8C-A183-3869796AFF11}" srcOrd="0" destOrd="0" presId="urn:microsoft.com/office/officeart/2005/8/layout/list1"/>
    <dgm:cxn modelId="{A7A31C6C-F164-42C6-9714-3293D7448A57}" type="presOf" srcId="{A799538B-680B-449E-8D3E-A1868313E43F}" destId="{E3DBA316-26C2-40DE-A0B7-9B90557FB902}" srcOrd="0" destOrd="0" presId="urn:microsoft.com/office/officeart/2005/8/layout/list1"/>
    <dgm:cxn modelId="{81640071-3FD6-4EB5-84E0-70CC8D78CCC5}" type="presOf" srcId="{46CC23D6-3B57-40D3-91F7-464046584573}" destId="{A2DB0CD6-1136-42A9-B8F2-28FDFA315584}" srcOrd="1" destOrd="0" presId="urn:microsoft.com/office/officeart/2005/8/layout/list1"/>
    <dgm:cxn modelId="{7F520E53-2BDD-4926-8BAA-65A148104949}" type="presOf" srcId="{B7B9EF15-4AE8-48C1-B3E9-1E94281240FD}" destId="{01E3D856-61A3-4E3E-8529-4DE4EC154601}" srcOrd="0" destOrd="0" presId="urn:microsoft.com/office/officeart/2005/8/layout/list1"/>
    <dgm:cxn modelId="{5C55B47E-D80E-418F-A32F-1C7E4505037A}" type="presOf" srcId="{B7B9EF15-4AE8-48C1-B3E9-1E94281240FD}" destId="{7A105291-DD7D-44C5-9229-49997736D2A6}" srcOrd="1" destOrd="0" presId="urn:microsoft.com/office/officeart/2005/8/layout/list1"/>
    <dgm:cxn modelId="{518B1E94-8926-4E1F-B031-C32E466DF544}" srcId="{FE874FD9-0161-4522-88F1-B2415FA823CE}" destId="{0BDB2C96-7328-4C38-80DD-11045274FA0D}" srcOrd="0" destOrd="0" parTransId="{164C667E-4F97-4E1F-A44F-86B7889C7B63}" sibTransId="{C988B7E8-D776-441A-97B6-D2B9961A5FEC}"/>
    <dgm:cxn modelId="{DBEE47C3-8EE2-4156-8710-FCD681D1A8E1}" srcId="{FE874FD9-0161-4522-88F1-B2415FA823CE}" destId="{A799538B-680B-449E-8D3E-A1868313E43F}" srcOrd="2" destOrd="0" parTransId="{62933074-1C7E-4906-9B43-DA21AE3E732D}" sibTransId="{57929EE8-8785-45FD-A05E-75129081EFBD}"/>
    <dgm:cxn modelId="{08FFD7E4-9767-4178-951F-3E4EB455715F}" srcId="{FE874FD9-0161-4522-88F1-B2415FA823CE}" destId="{46CC23D6-3B57-40D3-91F7-464046584573}" srcOrd="1" destOrd="0" parTransId="{8A25D0B4-0EA2-4489-9E22-D46A821B513C}" sibTransId="{3A3D9006-08E5-43AA-B2F5-12AA47155D55}"/>
    <dgm:cxn modelId="{300C66E5-ECF3-4FF8-A5E2-8AAFD91FED59}" type="presOf" srcId="{A799538B-680B-449E-8D3E-A1868313E43F}" destId="{2CF22B47-DA30-4117-9B05-EAC20E9B1AE4}" srcOrd="1" destOrd="0" presId="urn:microsoft.com/office/officeart/2005/8/layout/list1"/>
    <dgm:cxn modelId="{3DD868F3-8A2B-493B-8F87-18C2817FF3A4}" type="presOf" srcId="{0BDB2C96-7328-4C38-80DD-11045274FA0D}" destId="{EEEFF6E9-D472-4E6A-8E13-F7B16B278C72}" srcOrd="1" destOrd="0" presId="urn:microsoft.com/office/officeart/2005/8/layout/list1"/>
    <dgm:cxn modelId="{5CF3FBB2-29CB-456B-A61C-C06C57D04D7A}" type="presParOf" srcId="{6CA5246C-1974-424B-B053-A488AE7A9CC8}" destId="{17CF2504-43CA-4C1C-81D2-1A7F022FE502}" srcOrd="0" destOrd="0" presId="urn:microsoft.com/office/officeart/2005/8/layout/list1"/>
    <dgm:cxn modelId="{F34207AB-FA0E-4DFE-8E37-3D27088356FC}" type="presParOf" srcId="{17CF2504-43CA-4C1C-81D2-1A7F022FE502}" destId="{90C20E78-EE46-4056-84D4-DEBD79F06EF1}" srcOrd="0" destOrd="0" presId="urn:microsoft.com/office/officeart/2005/8/layout/list1"/>
    <dgm:cxn modelId="{B067C0D5-80F6-4BE8-84C7-B1FC5E73F6F1}" type="presParOf" srcId="{17CF2504-43CA-4C1C-81D2-1A7F022FE502}" destId="{EEEFF6E9-D472-4E6A-8E13-F7B16B278C72}" srcOrd="1" destOrd="0" presId="urn:microsoft.com/office/officeart/2005/8/layout/list1"/>
    <dgm:cxn modelId="{6ABDD038-567F-4995-A8DA-2037BE100ADB}" type="presParOf" srcId="{6CA5246C-1974-424B-B053-A488AE7A9CC8}" destId="{9F305785-D28C-475D-88A8-9E7ED308E8E8}" srcOrd="1" destOrd="0" presId="urn:microsoft.com/office/officeart/2005/8/layout/list1"/>
    <dgm:cxn modelId="{A1B853E4-1EBD-4D55-89E3-E752C669C371}" type="presParOf" srcId="{6CA5246C-1974-424B-B053-A488AE7A9CC8}" destId="{E5723921-3EC5-4EF1-913F-9784C9329F5D}" srcOrd="2" destOrd="0" presId="urn:microsoft.com/office/officeart/2005/8/layout/list1"/>
    <dgm:cxn modelId="{2866406A-9CB2-427C-A9D8-90CA3F910FAF}" type="presParOf" srcId="{6CA5246C-1974-424B-B053-A488AE7A9CC8}" destId="{21BA7DC7-19E8-4FBB-9425-B38ADA9A3F99}" srcOrd="3" destOrd="0" presId="urn:microsoft.com/office/officeart/2005/8/layout/list1"/>
    <dgm:cxn modelId="{0E6A1DA8-6BE9-4CA0-957C-71B41BF0972F}" type="presParOf" srcId="{6CA5246C-1974-424B-B053-A488AE7A9CC8}" destId="{1B960EF1-B84C-490F-9885-D58455E00344}" srcOrd="4" destOrd="0" presId="urn:microsoft.com/office/officeart/2005/8/layout/list1"/>
    <dgm:cxn modelId="{2579EC35-0102-49EB-8EB3-C620CE7CE105}" type="presParOf" srcId="{1B960EF1-B84C-490F-9885-D58455E00344}" destId="{9F6F084A-1A11-4B8C-A183-3869796AFF11}" srcOrd="0" destOrd="0" presId="urn:microsoft.com/office/officeart/2005/8/layout/list1"/>
    <dgm:cxn modelId="{27190D11-1CB9-4921-B6BB-5A629854A185}" type="presParOf" srcId="{1B960EF1-B84C-490F-9885-D58455E00344}" destId="{A2DB0CD6-1136-42A9-B8F2-28FDFA315584}" srcOrd="1" destOrd="0" presId="urn:microsoft.com/office/officeart/2005/8/layout/list1"/>
    <dgm:cxn modelId="{BD85719B-D4A4-4247-B679-EE0F0FE45594}" type="presParOf" srcId="{6CA5246C-1974-424B-B053-A488AE7A9CC8}" destId="{562F5320-1DAE-4988-A6EC-D9ED04A76F66}" srcOrd="5" destOrd="0" presId="urn:microsoft.com/office/officeart/2005/8/layout/list1"/>
    <dgm:cxn modelId="{1A8E8179-D3EA-4C1B-86D3-2C4EE8363DF3}" type="presParOf" srcId="{6CA5246C-1974-424B-B053-A488AE7A9CC8}" destId="{1DE297D5-5B46-4150-A37B-4FE63CD9A2B5}" srcOrd="6" destOrd="0" presId="urn:microsoft.com/office/officeart/2005/8/layout/list1"/>
    <dgm:cxn modelId="{8E33FCB7-F9D6-4774-8284-5C524945CA5C}" type="presParOf" srcId="{6CA5246C-1974-424B-B053-A488AE7A9CC8}" destId="{C3AA3D4D-22B6-4BCE-ABE2-CFD01730F289}" srcOrd="7" destOrd="0" presId="urn:microsoft.com/office/officeart/2005/8/layout/list1"/>
    <dgm:cxn modelId="{3FB44C5F-C2E3-4FE8-B36E-982CCC637C8F}" type="presParOf" srcId="{6CA5246C-1974-424B-B053-A488AE7A9CC8}" destId="{B933CC68-39BD-4EB7-8974-1FFD1C6C3936}" srcOrd="8" destOrd="0" presId="urn:microsoft.com/office/officeart/2005/8/layout/list1"/>
    <dgm:cxn modelId="{702419AF-230C-4681-9640-B0F1DB1AC0F4}" type="presParOf" srcId="{B933CC68-39BD-4EB7-8974-1FFD1C6C3936}" destId="{E3DBA316-26C2-40DE-A0B7-9B90557FB902}" srcOrd="0" destOrd="0" presId="urn:microsoft.com/office/officeart/2005/8/layout/list1"/>
    <dgm:cxn modelId="{6C1AAC37-5E84-4A2F-AD54-E99B4CC9F083}" type="presParOf" srcId="{B933CC68-39BD-4EB7-8974-1FFD1C6C3936}" destId="{2CF22B47-DA30-4117-9B05-EAC20E9B1AE4}" srcOrd="1" destOrd="0" presId="urn:microsoft.com/office/officeart/2005/8/layout/list1"/>
    <dgm:cxn modelId="{9BCE5526-4123-4E93-8CEE-965294E447FB}" type="presParOf" srcId="{6CA5246C-1974-424B-B053-A488AE7A9CC8}" destId="{65B240A9-3713-4F43-B54B-B703EC3A873E}" srcOrd="9" destOrd="0" presId="urn:microsoft.com/office/officeart/2005/8/layout/list1"/>
    <dgm:cxn modelId="{601DE87A-BBD2-4331-BB9C-4BC7226F44DB}" type="presParOf" srcId="{6CA5246C-1974-424B-B053-A488AE7A9CC8}" destId="{C5DB52DE-FF7E-4D3A-84E5-A0F5CF666A8F}" srcOrd="10" destOrd="0" presId="urn:microsoft.com/office/officeart/2005/8/layout/list1"/>
    <dgm:cxn modelId="{C625F309-C378-48C3-80B5-12DABAE8B9F8}" type="presParOf" srcId="{6CA5246C-1974-424B-B053-A488AE7A9CC8}" destId="{281879A7-D874-49B6-9030-9CCF0E2A617A}" srcOrd="11" destOrd="0" presId="urn:microsoft.com/office/officeart/2005/8/layout/list1"/>
    <dgm:cxn modelId="{9118F16D-9DA5-48E0-B0DD-2017E5DE9CCE}" type="presParOf" srcId="{6CA5246C-1974-424B-B053-A488AE7A9CC8}" destId="{9EC13B98-F286-4D48-9951-23DC1C06F943}" srcOrd="12" destOrd="0" presId="urn:microsoft.com/office/officeart/2005/8/layout/list1"/>
    <dgm:cxn modelId="{AB5EA99C-8559-49F5-B6CD-B3962F2FE1E2}" type="presParOf" srcId="{9EC13B98-F286-4D48-9951-23DC1C06F943}" destId="{01E3D856-61A3-4E3E-8529-4DE4EC154601}" srcOrd="0" destOrd="0" presId="urn:microsoft.com/office/officeart/2005/8/layout/list1"/>
    <dgm:cxn modelId="{23D7CEA3-68C5-467F-9586-2D8AD842391E}" type="presParOf" srcId="{9EC13B98-F286-4D48-9951-23DC1C06F943}" destId="{7A105291-DD7D-44C5-9229-49997736D2A6}" srcOrd="1" destOrd="0" presId="urn:microsoft.com/office/officeart/2005/8/layout/list1"/>
    <dgm:cxn modelId="{66C85D13-25BD-497E-B5BE-108EE37C0349}" type="presParOf" srcId="{6CA5246C-1974-424B-B053-A488AE7A9CC8}" destId="{E0C9079B-45A0-48FE-AE08-D368A64165EE}" srcOrd="13" destOrd="0" presId="urn:microsoft.com/office/officeart/2005/8/layout/list1"/>
    <dgm:cxn modelId="{99A6A6E8-4F64-43EB-A85D-13725B1359D1}" type="presParOf" srcId="{6CA5246C-1974-424B-B053-A488AE7A9CC8}" destId="{085E40D1-76D7-423C-9930-75FF755922A5}"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Responsabilidad</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600" dirty="0"/>
            <a:t>Los profesionales, técnicos y auxiliares de la salud tienen el deber que las acciones o intervenciones ejecutadas en el ejercicio de sus funciones se otorguen de acuerdo con el marco regulatorio vigente; a los protocolos establecidos en materia de seguridad del paciente y calidad de la atención de salud, y aquellos que la autoridad establece como vinculantes para los prestadores de salud; considerando siempre la lex artis y las circunstancias concretas del caso.</a:t>
          </a:r>
          <a:endParaRPr lang="es-CL" sz="16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D499A2CC-336D-4637-91E4-465058B29010}">
      <dgm:prSet phldrT="[Texto]" custT="1"/>
      <dgm:spPr/>
      <dgm:t>
        <a:bodyPr/>
        <a:lstStyle/>
        <a:p>
          <a:r>
            <a:rPr lang="es-MX" sz="2000" dirty="0"/>
            <a:t>Ejercicio ilegal</a:t>
          </a:r>
          <a:endParaRPr lang="es-CL" sz="2000" dirty="0"/>
        </a:p>
      </dgm:t>
    </dgm:pt>
    <dgm:pt modelId="{B374A90E-13FF-4F23-BE2B-758B4F718AF4}" type="parTrans" cxnId="{F8052216-F40F-47A0-A839-E60F0B277B63}">
      <dgm:prSet/>
      <dgm:spPr/>
      <dgm:t>
        <a:bodyPr/>
        <a:lstStyle/>
        <a:p>
          <a:endParaRPr lang="es-CL" sz="1800"/>
        </a:p>
      </dgm:t>
    </dgm:pt>
    <dgm:pt modelId="{3A1F9454-0D1D-4446-96F0-B993BFA9282E}" type="sibTrans" cxnId="{F8052216-F40F-47A0-A839-E60F0B277B63}">
      <dgm:prSet/>
      <dgm:spPr/>
      <dgm:t>
        <a:bodyPr/>
        <a:lstStyle/>
        <a:p>
          <a:endParaRPr lang="es-CL" sz="1800"/>
        </a:p>
      </dgm:t>
    </dgm:pt>
    <dgm:pt modelId="{DCE9AB80-851B-42BA-8A30-B618F3CDB0B1}">
      <dgm:prSet phldrT="[Texto]" custT="1"/>
      <dgm:spPr/>
      <dgm:t>
        <a:bodyPr/>
        <a:lstStyle/>
        <a:p>
          <a:r>
            <a:rPr lang="es-MX" sz="1600" dirty="0"/>
            <a:t>Prohíbase a una misma persona ejercer conjuntamente las profesiones de médico-cirujano y las de farmacéutico, químico-farmacéutico o bioquímico.</a:t>
          </a:r>
          <a:endParaRPr lang="es-CL" sz="1600" dirty="0"/>
        </a:p>
      </dgm:t>
    </dgm:pt>
    <dgm:pt modelId="{EB0B7641-C450-4C12-8C21-C4F0C0D03814}" type="parTrans" cxnId="{8854AB73-FFDE-4D07-AE3A-7B2F9BEC1A3F}">
      <dgm:prSet/>
      <dgm:spPr/>
      <dgm:t>
        <a:bodyPr/>
        <a:lstStyle/>
        <a:p>
          <a:endParaRPr lang="es-CL" sz="1800"/>
        </a:p>
      </dgm:t>
    </dgm:pt>
    <dgm:pt modelId="{A1F0EA2C-AE1B-411F-9CD7-F3D2704A914D}" type="sibTrans" cxnId="{8854AB73-FFDE-4D07-AE3A-7B2F9BEC1A3F}">
      <dgm:prSet/>
      <dgm:spPr/>
      <dgm:t>
        <a:bodyPr/>
        <a:lstStyle/>
        <a:p>
          <a:endParaRPr lang="es-CL" sz="1800"/>
        </a:p>
      </dgm:t>
    </dgm:pt>
    <dgm:pt modelId="{260D01EB-08EF-42D6-AC25-13634B2A0ED6}">
      <dgm:prSet custT="1"/>
      <dgm:spPr/>
      <dgm:t>
        <a:bodyPr/>
        <a:lstStyle/>
        <a:p>
          <a:r>
            <a:rPr lang="es-MX" sz="1600" dirty="0"/>
            <a:t>Sin perjuicio de lo expuesto en el inciso precedente, los profesionales, técnicos y auxiliares de salud legalmente habilitados podrán otorgar acciones de salud en caso de accidentes en situaciones de emergencia o riesgo de muerte o de secuela grave, cuando no se cuente con el personal sanitario respectivo en la localidad o cuando habiéndolo, no sea posible su asistencia profesional.</a:t>
          </a:r>
          <a:endParaRPr lang="es-CL" sz="1600" dirty="0"/>
        </a:p>
      </dgm:t>
    </dgm:pt>
    <dgm:pt modelId="{54867465-CE73-4875-8E8D-967740143E2E}" type="parTrans" cxnId="{A6AF3F95-5373-42CA-A876-F7056C7F149C}">
      <dgm:prSet/>
      <dgm:spPr/>
      <dgm:t>
        <a:bodyPr/>
        <a:lstStyle/>
        <a:p>
          <a:endParaRPr lang="es-CL" sz="1800"/>
        </a:p>
      </dgm:t>
    </dgm:pt>
    <dgm:pt modelId="{862D7D1C-89F1-4C2A-9BD4-811F6CEEBB0E}" type="sibTrans" cxnId="{A6AF3F95-5373-42CA-A876-F7056C7F149C}">
      <dgm:prSet/>
      <dgm:spPr/>
      <dgm:t>
        <a:bodyPr/>
        <a:lstStyle/>
        <a:p>
          <a:endParaRPr lang="es-CL" sz="1800"/>
        </a:p>
      </dgm:t>
    </dgm:pt>
    <dgm:pt modelId="{BB1F5CBF-E6AA-49FF-BCA8-F54775B17421}">
      <dgm:prSet phldrT="[Texto]" custT="1"/>
      <dgm:spPr/>
      <dgm:t>
        <a:bodyPr/>
        <a:lstStyle/>
        <a:p>
          <a:r>
            <a:rPr lang="es-MX" sz="1600" dirty="0"/>
            <a:t>Se considera ejercicio ilegal a quien otorgare acciones de salud propias del ámbito de competencia específica del ejercicio de los profesionales, técnicos y auxiliares de salud mencionados en este Libro, sin estar legalmente autorizado para ello.</a:t>
          </a:r>
          <a:endParaRPr lang="es-CL" sz="1600" dirty="0"/>
        </a:p>
      </dgm:t>
    </dgm:pt>
    <dgm:pt modelId="{03B58D60-B63E-4D08-A841-8E25814D05DC}" type="parTrans" cxnId="{E11EB80A-167F-4D4C-93F1-D38F8CC5F471}">
      <dgm:prSet/>
      <dgm:spPr/>
      <dgm:t>
        <a:bodyPr/>
        <a:lstStyle/>
        <a:p>
          <a:endParaRPr lang="es-CL" sz="1800"/>
        </a:p>
      </dgm:t>
    </dgm:pt>
    <dgm:pt modelId="{E59A2525-B7FB-4406-8890-83875774ADAB}" type="sibTrans" cxnId="{E11EB80A-167F-4D4C-93F1-D38F8CC5F471}">
      <dgm:prSet/>
      <dgm:spPr/>
      <dgm:t>
        <a:bodyPr/>
        <a:lstStyle/>
        <a:p>
          <a:endParaRPr lang="es-CL" sz="1800"/>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2" custScaleX="72670" custScaleY="63138"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2" custScaleX="137042" custScaleY="64049">
        <dgm:presLayoutVars>
          <dgm:bulletEnabled val="1"/>
        </dgm:presLayoutVars>
      </dgm:prSet>
      <dgm:spPr/>
    </dgm:pt>
    <dgm:pt modelId="{EC622E82-FA2C-446C-87EF-819722F84E87}" type="pres">
      <dgm:prSet presAssocID="{517F4B9A-59FA-489D-B8E5-338D6F15EAC2}" presName="sp" presStyleCnt="0"/>
      <dgm:spPr/>
    </dgm:pt>
    <dgm:pt modelId="{5CCAA830-A04D-4FEF-B39D-04C71AD7B25A}" type="pres">
      <dgm:prSet presAssocID="{D499A2CC-336D-4637-91E4-465058B29010}" presName="linNode" presStyleCnt="0"/>
      <dgm:spPr/>
    </dgm:pt>
    <dgm:pt modelId="{85A37A78-5217-4B2F-AE20-7E9A7EF47F9A}" type="pres">
      <dgm:prSet presAssocID="{D499A2CC-336D-4637-91E4-465058B29010}" presName="parentText" presStyleLbl="node1" presStyleIdx="1" presStyleCnt="2" custScaleX="65659" custScaleY="97757">
        <dgm:presLayoutVars>
          <dgm:chMax val="1"/>
          <dgm:bulletEnabled val="1"/>
        </dgm:presLayoutVars>
      </dgm:prSet>
      <dgm:spPr/>
    </dgm:pt>
    <dgm:pt modelId="{2AE938B4-440A-400B-92AA-2978E9B3BD67}" type="pres">
      <dgm:prSet presAssocID="{D499A2CC-336D-4637-91E4-465058B29010}" presName="descendantText" presStyleLbl="alignAccFollowNode1" presStyleIdx="1" presStyleCnt="2" custScaleX="123749" custScaleY="99707">
        <dgm:presLayoutVars>
          <dgm:bulletEnabled val="1"/>
        </dgm:presLayoutVars>
      </dgm:prSet>
      <dgm:spPr/>
    </dgm:pt>
  </dgm:ptLst>
  <dgm:cxnLst>
    <dgm:cxn modelId="{E11EB80A-167F-4D4C-93F1-D38F8CC5F471}" srcId="{D499A2CC-336D-4637-91E4-465058B29010}" destId="{BB1F5CBF-E6AA-49FF-BCA8-F54775B17421}" srcOrd="1" destOrd="0" parTransId="{03B58D60-B63E-4D08-A841-8E25814D05DC}" sibTransId="{E59A2525-B7FB-4406-8890-83875774ADAB}"/>
    <dgm:cxn modelId="{D9A5DE0A-54C3-4CD3-8835-31D1065D6E8B}" type="presOf" srcId="{BB1F5CBF-E6AA-49FF-BCA8-F54775B17421}" destId="{2AE938B4-440A-400B-92AA-2978E9B3BD67}" srcOrd="0" destOrd="1" presId="urn:microsoft.com/office/officeart/2005/8/layout/vList5"/>
    <dgm:cxn modelId="{F8052216-F40F-47A0-A839-E60F0B277B63}" srcId="{2A814265-7A8F-4FA4-9DF2-D9AA5FC14D4A}" destId="{D499A2CC-336D-4637-91E4-465058B29010}" srcOrd="1" destOrd="0" parTransId="{B374A90E-13FF-4F23-BE2B-758B4F718AF4}" sibTransId="{3A1F9454-0D1D-4446-96F0-B993BFA9282E}"/>
    <dgm:cxn modelId="{59856619-26CF-4B76-8680-63162A99CC1E}" srcId="{2A814265-7A8F-4FA4-9DF2-D9AA5FC14D4A}" destId="{5D1494DF-373C-4468-A49A-514319604E80}" srcOrd="0" destOrd="0" parTransId="{01A40260-E3FB-40EE-96FD-BA1B75812747}" sibTransId="{517F4B9A-59FA-489D-B8E5-338D6F15EAC2}"/>
    <dgm:cxn modelId="{9B09E03F-10E7-46D7-B7AB-BC69C3F17EAE}" type="presOf" srcId="{260D01EB-08EF-42D6-AC25-13634B2A0ED6}" destId="{2AE938B4-440A-400B-92AA-2978E9B3BD67}" srcOrd="0" destOrd="2" presId="urn:microsoft.com/office/officeart/2005/8/layout/vList5"/>
    <dgm:cxn modelId="{01CC0F6B-4AC2-40D3-AE14-343100291F29}" type="presOf" srcId="{DCE9AB80-851B-42BA-8A30-B618F3CDB0B1}" destId="{2AE938B4-440A-400B-92AA-2978E9B3BD67}" srcOrd="0" destOrd="0" presId="urn:microsoft.com/office/officeart/2005/8/layout/vList5"/>
    <dgm:cxn modelId="{C19CDA50-0D6D-463A-9722-F62EA7C1D1C3}" type="presOf" srcId="{5D1494DF-373C-4468-A49A-514319604E80}" destId="{2621620F-01FC-4819-A3A0-A1170814BB4E}" srcOrd="0" destOrd="0" presId="urn:microsoft.com/office/officeart/2005/8/layout/vList5"/>
    <dgm:cxn modelId="{8854AB73-FFDE-4D07-AE3A-7B2F9BEC1A3F}" srcId="{D499A2CC-336D-4637-91E4-465058B29010}" destId="{DCE9AB80-851B-42BA-8A30-B618F3CDB0B1}" srcOrd="0" destOrd="0" parTransId="{EB0B7641-C450-4C12-8C21-C4F0C0D03814}" sibTransId="{A1F0EA2C-AE1B-411F-9CD7-F3D2704A914D}"/>
    <dgm:cxn modelId="{D4694175-DF85-47FA-BDE2-EB945BEFCF8A}" type="presOf" srcId="{2A814265-7A8F-4FA4-9DF2-D9AA5FC14D4A}" destId="{1CCB2482-2DBB-41BD-86F0-5B9520FC0C0C}" srcOrd="0" destOrd="0" presId="urn:microsoft.com/office/officeart/2005/8/layout/vList5"/>
    <dgm:cxn modelId="{A6AF3F95-5373-42CA-A876-F7056C7F149C}" srcId="{D499A2CC-336D-4637-91E4-465058B29010}" destId="{260D01EB-08EF-42D6-AC25-13634B2A0ED6}" srcOrd="2" destOrd="0" parTransId="{54867465-CE73-4875-8E8D-967740143E2E}" sibTransId="{862D7D1C-89F1-4C2A-9BD4-811F6CEEBB0E}"/>
    <dgm:cxn modelId="{037651A7-9710-4AE7-A356-02ABD61DE482}" srcId="{5D1494DF-373C-4468-A49A-514319604E80}" destId="{505ADBA4-E900-4EBB-BEB6-974CFDDC29D3}" srcOrd="0" destOrd="0" parTransId="{4FCF47E0-CF4A-4001-8F26-6D35C44CEB4D}" sibTransId="{B194F090-B0D9-4F40-BBEA-D175BA892108}"/>
    <dgm:cxn modelId="{A75B06CE-91EB-4765-B157-18BA4F3A5BA3}" type="presOf" srcId="{505ADBA4-E900-4EBB-BEB6-974CFDDC29D3}" destId="{A73AE5F6-B281-4E3F-AC46-5B962412DE97}" srcOrd="0" destOrd="0" presId="urn:microsoft.com/office/officeart/2005/8/layout/vList5"/>
    <dgm:cxn modelId="{018FF3F4-2804-478B-9BF8-01340E9BFBCD}" type="presOf" srcId="{D499A2CC-336D-4637-91E4-465058B29010}" destId="{85A37A78-5217-4B2F-AE20-7E9A7EF47F9A}" srcOrd="0" destOrd="0" presId="urn:microsoft.com/office/officeart/2005/8/layout/vList5"/>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 modelId="{020DAE19-A6C5-4AAF-AD40-4537939876AE}" type="presParOf" srcId="{1CCB2482-2DBB-41BD-86F0-5B9520FC0C0C}" destId="{EC622E82-FA2C-446C-87EF-819722F84E87}" srcOrd="1" destOrd="0" presId="urn:microsoft.com/office/officeart/2005/8/layout/vList5"/>
    <dgm:cxn modelId="{4D274873-4F32-484D-85EE-B2B206F08CF6}" type="presParOf" srcId="{1CCB2482-2DBB-41BD-86F0-5B9520FC0C0C}" destId="{5CCAA830-A04D-4FEF-B39D-04C71AD7B25A}" srcOrd="2" destOrd="0" presId="urn:microsoft.com/office/officeart/2005/8/layout/vList5"/>
    <dgm:cxn modelId="{571E7C5C-2D05-417E-91F8-CF23C8DB9359}" type="presParOf" srcId="{5CCAA830-A04D-4FEF-B39D-04C71AD7B25A}" destId="{85A37A78-5217-4B2F-AE20-7E9A7EF47F9A}" srcOrd="0" destOrd="0" presId="urn:microsoft.com/office/officeart/2005/8/layout/vList5"/>
    <dgm:cxn modelId="{DCFC2023-D4A2-4372-AF27-67D8A77EFDAE}" type="presParOf" srcId="{5CCAA830-A04D-4FEF-B39D-04C71AD7B25A}" destId="{2AE938B4-440A-400B-92AA-2978E9B3BD6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EFAF9A73-36E4-4906-BA0C-752C57F20D75}">
      <dgm:prSet phldrT="[Texto]" custT="1"/>
      <dgm:spPr/>
      <dgm:t>
        <a:bodyPr/>
        <a:lstStyle/>
        <a:p>
          <a:r>
            <a:rPr lang="es-MX" sz="2000" dirty="0"/>
            <a:t>Interés Patrimonial</a:t>
          </a:r>
          <a:endParaRPr lang="es-CL" sz="2000" dirty="0"/>
        </a:p>
      </dgm:t>
    </dgm:pt>
    <dgm:pt modelId="{7C36E768-B86E-4B42-9CF9-A73F40CDC334}" type="parTrans" cxnId="{0798C7C0-0799-4344-875F-671C6BDF6408}">
      <dgm:prSet/>
      <dgm:spPr/>
      <dgm:t>
        <a:bodyPr/>
        <a:lstStyle/>
        <a:p>
          <a:endParaRPr lang="es-CL" sz="1800"/>
        </a:p>
      </dgm:t>
    </dgm:pt>
    <dgm:pt modelId="{0BE46F39-7445-42B4-8EF5-1AA23477D848}" type="sibTrans" cxnId="{0798C7C0-0799-4344-875F-671C6BDF6408}">
      <dgm:prSet/>
      <dgm:spPr/>
      <dgm:t>
        <a:bodyPr/>
        <a:lstStyle/>
        <a:p>
          <a:endParaRPr lang="es-CL" sz="1800"/>
        </a:p>
      </dgm:t>
    </dgm:pt>
    <dgm:pt modelId="{742A7DA0-EC93-41D9-A15A-B35FA94E128A}">
      <dgm:prSet phldrT="[Texto]" custT="1"/>
      <dgm:spPr/>
      <dgm:t>
        <a:bodyPr/>
        <a:lstStyle/>
        <a:p>
          <a:r>
            <a:rPr lang="es-CL" sz="1600" dirty="0"/>
            <a:t>Las y los profesionales habilitados para prescribir e indicar no podrán ejercer su profesión y tener interés patrimonial que diga relación directa con su actividad, en establecimientos destinados a la importación e internación; exportación; producción; fabricación; distribución; y venta y publicidad de medicamentos, dispositivos de uso médico, alimentos de uso médico, cosméticos, y en general los productos sanitarios mencionados en este Código propios del ejercicio de su profesión, a menos que el respectivo colegio profesional emita en cada caso un informe estableciendo que no se vulnera la ética profesional. </a:t>
          </a:r>
          <a:r>
            <a:rPr lang="es-CL" sz="1600" dirty="0" err="1"/>
            <a:t>Exceptúase</a:t>
          </a:r>
          <a:r>
            <a:rPr lang="es-CL" sz="1600" dirty="0"/>
            <a:t> de esta prohibición a las y los químicos farmacéuticos, y a las y los profesionales habilitados que, en determinadas situaciones, prescriben o indican insumos especiales requeridos para el ejercicio de una acción de salud de otros profesionales de la salud mencionados en este Libro.</a:t>
          </a:r>
        </a:p>
      </dgm:t>
    </dgm:pt>
    <dgm:pt modelId="{0ADD00A1-E5D9-415D-A626-74D65261154C}" type="parTrans" cxnId="{913D18C6-338D-414F-84AC-664F9CA4F715}">
      <dgm:prSet/>
      <dgm:spPr/>
      <dgm:t>
        <a:bodyPr/>
        <a:lstStyle/>
        <a:p>
          <a:endParaRPr lang="es-CL" sz="1800"/>
        </a:p>
      </dgm:t>
    </dgm:pt>
    <dgm:pt modelId="{9C6188C5-04A7-4B08-B96B-C5A4C1B1EAA5}" type="sibTrans" cxnId="{913D18C6-338D-414F-84AC-664F9CA4F715}">
      <dgm:prSet/>
      <dgm:spPr/>
      <dgm:t>
        <a:bodyPr/>
        <a:lstStyle/>
        <a:p>
          <a:endParaRPr lang="es-CL" sz="1800"/>
        </a:p>
      </dgm:t>
    </dgm:pt>
    <dgm:pt modelId="{C29BDD5E-3CCE-47C2-A50E-02FBBF8BC062}">
      <dgm:prSet custT="1"/>
      <dgm:spPr/>
      <dgm:t>
        <a:bodyPr/>
        <a:lstStyle/>
        <a:p>
          <a:r>
            <a:rPr lang="es-CL" sz="1600" dirty="0"/>
            <a:t>Un reglamento dictado por el Ministerio de Salud regulará lo dispuesto en el inciso precedente, debiendo especificar las excepciones a las que hace referencia el inciso anterior.</a:t>
          </a:r>
        </a:p>
      </dgm:t>
    </dgm:pt>
    <dgm:pt modelId="{FC8C4077-1925-4A06-8148-6F5EB09485A2}" type="parTrans" cxnId="{EF5CBE31-1958-4410-84D6-271FF071AC0D}">
      <dgm:prSet/>
      <dgm:spPr/>
      <dgm:t>
        <a:bodyPr/>
        <a:lstStyle/>
        <a:p>
          <a:endParaRPr lang="es-CL" sz="1800"/>
        </a:p>
      </dgm:t>
    </dgm:pt>
    <dgm:pt modelId="{E7FA9B7B-EDB4-4436-A16E-27838CD8D184}" type="sibTrans" cxnId="{EF5CBE31-1958-4410-84D6-271FF071AC0D}">
      <dgm:prSet/>
      <dgm:spPr/>
      <dgm:t>
        <a:bodyPr/>
        <a:lstStyle/>
        <a:p>
          <a:endParaRPr lang="es-CL" sz="1800"/>
        </a:p>
      </dgm:t>
    </dgm:pt>
    <dgm:pt modelId="{3025EE60-379A-49B2-972B-21E2F5B9751B}">
      <dgm:prSet custT="1"/>
      <dgm:spPr/>
      <dgm:t>
        <a:bodyPr/>
        <a:lstStyle/>
        <a:p>
          <a:r>
            <a:rPr lang="es-CL" sz="1600" dirty="0"/>
            <a:t>Las y los funcionarios públicos que ejerzan como médico-cirujano farmacéutico, químico-farmacéutico, bioquímico, u otra profesión que los habilite para prescribir e indicar, deberán siempre realizar una declaración de patrimonio e intereses en los términos establecidos por el Título II de la ley </a:t>
          </a:r>
          <a:r>
            <a:rPr lang="es-CL" sz="1600" dirty="0" err="1"/>
            <a:t>N°</a:t>
          </a:r>
          <a:r>
            <a:rPr lang="es-CL" sz="1600" dirty="0"/>
            <a:t> 20.880 sobre probidad en la función pública y la prevención del conflicto de intereses.</a:t>
          </a:r>
        </a:p>
      </dgm:t>
    </dgm:pt>
    <dgm:pt modelId="{0FEDDCEC-CCF3-4CF3-B973-DD5EAB107200}" type="parTrans" cxnId="{C984D35C-8A04-4D0D-9A9B-C29A2790EBA1}">
      <dgm:prSet/>
      <dgm:spPr/>
      <dgm:t>
        <a:bodyPr/>
        <a:lstStyle/>
        <a:p>
          <a:endParaRPr lang="es-CL" sz="1800"/>
        </a:p>
      </dgm:t>
    </dgm:pt>
    <dgm:pt modelId="{2FFFE42F-3A16-40A7-9956-BEE6DDE3215D}" type="sibTrans" cxnId="{C984D35C-8A04-4D0D-9A9B-C29A2790EBA1}">
      <dgm:prSet/>
      <dgm:spPr/>
      <dgm:t>
        <a:bodyPr/>
        <a:lstStyle/>
        <a:p>
          <a:endParaRPr lang="es-CL" sz="1800"/>
        </a:p>
      </dgm:t>
    </dgm:pt>
    <dgm:pt modelId="{1CCB2482-2DBB-41BD-86F0-5B9520FC0C0C}" type="pres">
      <dgm:prSet presAssocID="{2A814265-7A8F-4FA4-9DF2-D9AA5FC14D4A}" presName="Name0" presStyleCnt="0">
        <dgm:presLayoutVars>
          <dgm:dir/>
          <dgm:animLvl val="lvl"/>
          <dgm:resizeHandles val="exact"/>
        </dgm:presLayoutVars>
      </dgm:prSet>
      <dgm:spPr/>
    </dgm:pt>
    <dgm:pt modelId="{99F41E64-C35D-4F85-ACB2-F57FD34242CF}" type="pres">
      <dgm:prSet presAssocID="{EFAF9A73-36E4-4906-BA0C-752C57F20D75}" presName="linNode" presStyleCnt="0"/>
      <dgm:spPr/>
    </dgm:pt>
    <dgm:pt modelId="{63854DA7-BB4F-4F5D-973D-A74908BB234F}" type="pres">
      <dgm:prSet presAssocID="{EFAF9A73-36E4-4906-BA0C-752C57F20D75}" presName="parentText" presStyleLbl="node1" presStyleIdx="0" presStyleCnt="1" custScaleX="64724" custScaleY="133856">
        <dgm:presLayoutVars>
          <dgm:chMax val="1"/>
          <dgm:bulletEnabled val="1"/>
        </dgm:presLayoutVars>
      </dgm:prSet>
      <dgm:spPr/>
    </dgm:pt>
    <dgm:pt modelId="{CC9F46BB-5C59-4567-A529-27AEE793D1F0}" type="pres">
      <dgm:prSet presAssocID="{EFAF9A73-36E4-4906-BA0C-752C57F20D75}" presName="descendantText" presStyleLbl="alignAccFollowNode1" presStyleIdx="0" presStyleCnt="1" custScaleX="122156" custScaleY="157374">
        <dgm:presLayoutVars>
          <dgm:bulletEnabled val="1"/>
        </dgm:presLayoutVars>
      </dgm:prSet>
      <dgm:spPr/>
    </dgm:pt>
  </dgm:ptLst>
  <dgm:cxnLst>
    <dgm:cxn modelId="{54334404-894E-4A13-B4B5-E3760C3EE350}" type="presOf" srcId="{EFAF9A73-36E4-4906-BA0C-752C57F20D75}" destId="{63854DA7-BB4F-4F5D-973D-A74908BB234F}" srcOrd="0" destOrd="0" presId="urn:microsoft.com/office/officeart/2005/8/layout/vList5"/>
    <dgm:cxn modelId="{7A795709-55D5-41CF-A576-2944FCF79C04}" type="presOf" srcId="{3025EE60-379A-49B2-972B-21E2F5B9751B}" destId="{CC9F46BB-5C59-4567-A529-27AEE793D1F0}" srcOrd="0" destOrd="2" presId="urn:microsoft.com/office/officeart/2005/8/layout/vList5"/>
    <dgm:cxn modelId="{EF5CBE31-1958-4410-84D6-271FF071AC0D}" srcId="{EFAF9A73-36E4-4906-BA0C-752C57F20D75}" destId="{C29BDD5E-3CCE-47C2-A50E-02FBBF8BC062}" srcOrd="1" destOrd="0" parTransId="{FC8C4077-1925-4A06-8148-6F5EB09485A2}" sibTransId="{E7FA9B7B-EDB4-4436-A16E-27838CD8D184}"/>
    <dgm:cxn modelId="{C984D35C-8A04-4D0D-9A9B-C29A2790EBA1}" srcId="{EFAF9A73-36E4-4906-BA0C-752C57F20D75}" destId="{3025EE60-379A-49B2-972B-21E2F5B9751B}" srcOrd="2" destOrd="0" parTransId="{0FEDDCEC-CCF3-4CF3-B973-DD5EAB107200}" sibTransId="{2FFFE42F-3A16-40A7-9956-BEE6DDE3215D}"/>
    <dgm:cxn modelId="{A1CD756B-5783-4992-9AEC-D24326D23086}" type="presOf" srcId="{742A7DA0-EC93-41D9-A15A-B35FA94E128A}" destId="{CC9F46BB-5C59-4567-A529-27AEE793D1F0}" srcOrd="0" destOrd="0" presId="urn:microsoft.com/office/officeart/2005/8/layout/vList5"/>
    <dgm:cxn modelId="{D4694175-DF85-47FA-BDE2-EB945BEFCF8A}" type="presOf" srcId="{2A814265-7A8F-4FA4-9DF2-D9AA5FC14D4A}" destId="{1CCB2482-2DBB-41BD-86F0-5B9520FC0C0C}" srcOrd="0" destOrd="0" presId="urn:microsoft.com/office/officeart/2005/8/layout/vList5"/>
    <dgm:cxn modelId="{91ADC09F-B41E-4D25-A1B0-85E3B4BB0117}" type="presOf" srcId="{C29BDD5E-3CCE-47C2-A50E-02FBBF8BC062}" destId="{CC9F46BB-5C59-4567-A529-27AEE793D1F0}" srcOrd="0" destOrd="1" presId="urn:microsoft.com/office/officeart/2005/8/layout/vList5"/>
    <dgm:cxn modelId="{0798C7C0-0799-4344-875F-671C6BDF6408}" srcId="{2A814265-7A8F-4FA4-9DF2-D9AA5FC14D4A}" destId="{EFAF9A73-36E4-4906-BA0C-752C57F20D75}" srcOrd="0" destOrd="0" parTransId="{7C36E768-B86E-4B42-9CF9-A73F40CDC334}" sibTransId="{0BE46F39-7445-42B4-8EF5-1AA23477D848}"/>
    <dgm:cxn modelId="{913D18C6-338D-414F-84AC-664F9CA4F715}" srcId="{EFAF9A73-36E4-4906-BA0C-752C57F20D75}" destId="{742A7DA0-EC93-41D9-A15A-B35FA94E128A}" srcOrd="0" destOrd="0" parTransId="{0ADD00A1-E5D9-415D-A626-74D65261154C}" sibTransId="{9C6188C5-04A7-4B08-B96B-C5A4C1B1EAA5}"/>
    <dgm:cxn modelId="{A17AE540-8B21-4E5A-B3C2-9805F8CEDD97}" type="presParOf" srcId="{1CCB2482-2DBB-41BD-86F0-5B9520FC0C0C}" destId="{99F41E64-C35D-4F85-ACB2-F57FD34242CF}" srcOrd="0" destOrd="0" presId="urn:microsoft.com/office/officeart/2005/8/layout/vList5"/>
    <dgm:cxn modelId="{7DDE4AB5-F533-440F-8ABD-02F6A897E6EB}" type="presParOf" srcId="{99F41E64-C35D-4F85-ACB2-F57FD34242CF}" destId="{63854DA7-BB4F-4F5D-973D-A74908BB234F}" srcOrd="0" destOrd="0" presId="urn:microsoft.com/office/officeart/2005/8/layout/vList5"/>
    <dgm:cxn modelId="{2976BC37-9F72-4025-9AB0-D3FDB577D9DC}" type="presParOf" srcId="{99F41E64-C35D-4F85-ACB2-F57FD34242CF}" destId="{CC9F46BB-5C59-4567-A529-27AEE793D1F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Situaciones Excepcionales</a:t>
          </a:r>
        </a:p>
        <a:p>
          <a:r>
            <a:rPr lang="es-MX" sz="2000" dirty="0"/>
            <a:t>(Parte 1)</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600" dirty="0"/>
            <a:t>La Secretaría Regional Ministerial de Salud respectiva podrá autorizar el ejercicio como profesional, técnico o auxiliar de la salud, a quienes acrediten un título equivalente otorgado en el extranjero, de conformidad al reglamento dictado por el Ministerio de Salud y/o los convenios internacionales vigentes.</a:t>
          </a:r>
          <a:endParaRPr lang="es-CL" sz="16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19A21D5B-D71C-4FD8-9E7C-EB85FE5B0542}">
      <dgm:prSet custT="1"/>
      <dgm:spPr/>
      <dgm:t>
        <a:bodyPr/>
        <a:lstStyle/>
        <a:p>
          <a:endParaRPr lang="es-CL" sz="1600" dirty="0"/>
        </a:p>
      </dgm:t>
    </dgm:pt>
    <dgm:pt modelId="{8003F4D9-17B5-4662-BD0D-F312A5814805}" type="parTrans" cxnId="{A7FB8261-1C5B-4252-A8D8-16D45E74F3BE}">
      <dgm:prSet/>
      <dgm:spPr/>
      <dgm:t>
        <a:bodyPr/>
        <a:lstStyle/>
        <a:p>
          <a:endParaRPr lang="es-CL"/>
        </a:p>
      </dgm:t>
    </dgm:pt>
    <dgm:pt modelId="{B22BB265-5E27-4145-A08D-5E02E14DB110}" type="sibTrans" cxnId="{A7FB8261-1C5B-4252-A8D8-16D45E74F3BE}">
      <dgm:prSet/>
      <dgm:spPr/>
      <dgm:t>
        <a:bodyPr/>
        <a:lstStyle/>
        <a:p>
          <a:endParaRPr lang="es-CL"/>
        </a:p>
      </dgm:t>
    </dgm:pt>
    <dgm:pt modelId="{485C1C6C-CBA3-47AD-8048-351450B7692D}">
      <dgm:prSet custT="1"/>
      <dgm:spPr/>
      <dgm:t>
        <a:bodyPr/>
        <a:lstStyle/>
        <a:p>
          <a:r>
            <a:rPr lang="es-MX" sz="1600" dirty="0"/>
            <a:t>Asimismo, la autoridad de salud también podrá autorizar a las personas señaladas en el inciso primero en las siguientes circunstancias:</a:t>
          </a:r>
          <a:endParaRPr lang="es-CL" sz="1600" dirty="0"/>
        </a:p>
      </dgm:t>
    </dgm:pt>
    <dgm:pt modelId="{186FDE2C-EEE8-4B49-A5E0-D8A7C741D8BE}" type="parTrans" cxnId="{51F81242-C25B-4319-BCB3-8B6C2A82CEF5}">
      <dgm:prSet/>
      <dgm:spPr/>
      <dgm:t>
        <a:bodyPr/>
        <a:lstStyle/>
        <a:p>
          <a:endParaRPr lang="es-CL"/>
        </a:p>
      </dgm:t>
    </dgm:pt>
    <dgm:pt modelId="{BE9305D1-3CDB-4486-93A6-3B4FEE5667FC}" type="sibTrans" cxnId="{51F81242-C25B-4319-BCB3-8B6C2A82CEF5}">
      <dgm:prSet/>
      <dgm:spPr/>
      <dgm:t>
        <a:bodyPr/>
        <a:lstStyle/>
        <a:p>
          <a:endParaRPr lang="es-CL"/>
        </a:p>
      </dgm:t>
    </dgm:pt>
    <dgm:pt modelId="{75EAF1A8-6CAC-47F4-A751-86A7DE7BF4E0}">
      <dgm:prSet custT="1"/>
      <dgm:spPr/>
      <dgm:t>
        <a:bodyPr/>
        <a:lstStyle/>
        <a:p>
          <a:pPr>
            <a:buFont typeface="+mj-lt"/>
            <a:buAutoNum type="alphaLcParenR"/>
          </a:pPr>
          <a:r>
            <a:rPr lang="es-MX" sz="1600" dirty="0"/>
            <a:t> Cuando realicen actividades docentes invitados formalmente por una institución académica del Estado o reconocida por este y que se encuentre en el territorio de la República, mientras se realice dicha actividad. </a:t>
          </a:r>
          <a:endParaRPr lang="es-CL" sz="1600" dirty="0"/>
        </a:p>
      </dgm:t>
    </dgm:pt>
    <dgm:pt modelId="{883B6459-936D-4A35-A658-61F5D1B4F6CD}" type="parTrans" cxnId="{50B18480-72D2-49FC-8BCD-8D72946EE238}">
      <dgm:prSet/>
      <dgm:spPr/>
      <dgm:t>
        <a:bodyPr/>
        <a:lstStyle/>
        <a:p>
          <a:endParaRPr lang="es-CL"/>
        </a:p>
      </dgm:t>
    </dgm:pt>
    <dgm:pt modelId="{DC0E3525-35EE-4617-BB0F-B30BC1806364}" type="sibTrans" cxnId="{50B18480-72D2-49FC-8BCD-8D72946EE238}">
      <dgm:prSet/>
      <dgm:spPr/>
      <dgm:t>
        <a:bodyPr/>
        <a:lstStyle/>
        <a:p>
          <a:endParaRPr lang="es-CL"/>
        </a:p>
      </dgm:t>
    </dgm:pt>
    <dgm:pt modelId="{878542B7-697A-432E-9B33-404DF73C6463}">
      <dgm:prSet custT="1"/>
      <dgm:spPr/>
      <dgm:t>
        <a:bodyPr/>
        <a:lstStyle/>
        <a:p>
          <a:pPr>
            <a:buFont typeface="+mj-lt"/>
            <a:buAutoNum type="alphaLcParenR"/>
          </a:pPr>
          <a:r>
            <a:rPr lang="es-MX" sz="1600" dirty="0"/>
            <a:t> Cuando se desempeñen en lugares apartados, hasta por un plazo de dos años, no renovable. Dichas localidades serán determinadas por las Secretarías Regionales Ministeriales de Salud, en base a los criterios definidos en el reglamento señalado en el inciso primero del presente artículo.</a:t>
          </a:r>
          <a:endParaRPr lang="es-CL" sz="1600" dirty="0"/>
        </a:p>
      </dgm:t>
    </dgm:pt>
    <dgm:pt modelId="{1F90FD85-206D-49F9-BFB9-8FEF94B7E013}" type="parTrans" cxnId="{4366043A-4369-4F76-BC67-41691C40E15B}">
      <dgm:prSet/>
      <dgm:spPr/>
      <dgm:t>
        <a:bodyPr/>
        <a:lstStyle/>
        <a:p>
          <a:endParaRPr lang="es-CL"/>
        </a:p>
      </dgm:t>
    </dgm:pt>
    <dgm:pt modelId="{298ACE91-DF60-47BD-A8A1-50EADB5337F4}" type="sibTrans" cxnId="{4366043A-4369-4F76-BC67-41691C40E15B}">
      <dgm:prSet/>
      <dgm:spPr/>
      <dgm:t>
        <a:bodyPr/>
        <a:lstStyle/>
        <a:p>
          <a:endParaRPr lang="es-CL"/>
        </a:p>
      </dgm:t>
    </dgm:pt>
    <dgm:pt modelId="{1AA0AFC0-2E1F-453C-9156-67A3654AFC17}">
      <dgm:prSet custT="1"/>
      <dgm:spPr/>
      <dgm:t>
        <a:bodyPr/>
        <a:lstStyle/>
        <a:p>
          <a:pPr>
            <a:buFont typeface="+mj-lt"/>
            <a:buAutoNum type="alphaLcParenR"/>
          </a:pPr>
          <a:r>
            <a:rPr lang="es-MX" sz="1600" dirty="0"/>
            <a:t> En casos de alerta sanitaria y de estados de excepción constitucional de catástrofe, emergencia, sitio y asamblea, mientras se encuentren vigentes.</a:t>
          </a:r>
          <a:endParaRPr lang="es-CL" sz="1600" dirty="0"/>
        </a:p>
      </dgm:t>
    </dgm:pt>
    <dgm:pt modelId="{6AD006BA-CAE0-48E1-A57D-B03B396813B3}" type="parTrans" cxnId="{F7D2D1FE-51E4-45A9-BC85-750AC18095B5}">
      <dgm:prSet/>
      <dgm:spPr/>
      <dgm:t>
        <a:bodyPr/>
        <a:lstStyle/>
        <a:p>
          <a:endParaRPr lang="es-CL"/>
        </a:p>
      </dgm:t>
    </dgm:pt>
    <dgm:pt modelId="{DFD68C3E-65FD-4407-8162-BB931AD75CAA}" type="sibTrans" cxnId="{F7D2D1FE-51E4-45A9-BC85-750AC18095B5}">
      <dgm:prSet/>
      <dgm:spPr/>
      <dgm:t>
        <a:bodyPr/>
        <a:lstStyle/>
        <a:p>
          <a:endParaRPr lang="es-CL"/>
        </a:p>
      </dgm:t>
    </dgm:pt>
    <dgm:pt modelId="{79E95023-D513-4A4E-9FBA-F3267ED5BA10}">
      <dgm:prSet custT="1"/>
      <dgm:spPr/>
      <dgm:t>
        <a:bodyPr/>
        <a:lstStyle/>
        <a:p>
          <a:pPr>
            <a:buFont typeface="+mj-lt"/>
            <a:buAutoNum type="alphaLcParenR"/>
          </a:pPr>
          <a:r>
            <a:rPr lang="es-MX" sz="1600" dirty="0"/>
            <a:t> Cuando acompañen en calidad de tales a autoridades extranjeras en el territorio de la República en visita oficial, para su atención exclusiva mientras dure la visita.</a:t>
          </a:r>
          <a:endParaRPr lang="es-CL" sz="1600" dirty="0"/>
        </a:p>
      </dgm:t>
    </dgm:pt>
    <dgm:pt modelId="{467B9A9F-B409-4508-9F22-A46E562B43D9}" type="parTrans" cxnId="{529EE5CC-74F9-409D-8CFD-CA0DE2EF1FFD}">
      <dgm:prSet/>
      <dgm:spPr/>
      <dgm:t>
        <a:bodyPr/>
        <a:lstStyle/>
        <a:p>
          <a:endParaRPr lang="es-CL"/>
        </a:p>
      </dgm:t>
    </dgm:pt>
    <dgm:pt modelId="{0FF41250-7D9B-4006-9E9D-3FD7FF9A39C6}" type="sibTrans" cxnId="{529EE5CC-74F9-409D-8CFD-CA0DE2EF1FFD}">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1" custScaleX="72670" custScaleY="100098"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1" custScaleX="137042" custScaleY="106760">
        <dgm:presLayoutVars>
          <dgm:bulletEnabled val="1"/>
        </dgm:presLayoutVars>
      </dgm:prSet>
      <dgm:spPr/>
    </dgm:pt>
  </dgm:ptLst>
  <dgm:cxnLst>
    <dgm:cxn modelId="{59856619-26CF-4B76-8680-63162A99CC1E}" srcId="{2A814265-7A8F-4FA4-9DF2-D9AA5FC14D4A}" destId="{5D1494DF-373C-4468-A49A-514319604E80}" srcOrd="0" destOrd="0" parTransId="{01A40260-E3FB-40EE-96FD-BA1B75812747}" sibTransId="{517F4B9A-59FA-489D-B8E5-338D6F15EAC2}"/>
    <dgm:cxn modelId="{010D2D36-78A6-4F42-B802-CC2B88DE28C6}" type="presOf" srcId="{19A21D5B-D71C-4FD8-9E7C-EB85FE5B0542}" destId="{A73AE5F6-B281-4E3F-AC46-5B962412DE97}" srcOrd="0" destOrd="1" presId="urn:microsoft.com/office/officeart/2005/8/layout/vList5"/>
    <dgm:cxn modelId="{A9BE0438-BC4F-45A9-9B07-96AA22579EAF}" type="presOf" srcId="{485C1C6C-CBA3-47AD-8048-351450B7692D}" destId="{A73AE5F6-B281-4E3F-AC46-5B962412DE97}" srcOrd="0" destOrd="2" presId="urn:microsoft.com/office/officeart/2005/8/layout/vList5"/>
    <dgm:cxn modelId="{4366043A-4369-4F76-BC67-41691C40E15B}" srcId="{5D1494DF-373C-4468-A49A-514319604E80}" destId="{878542B7-697A-432E-9B33-404DF73C6463}" srcOrd="5" destOrd="0" parTransId="{1F90FD85-206D-49F9-BFB9-8FEF94B7E013}" sibTransId="{298ACE91-DF60-47BD-A8A1-50EADB5337F4}"/>
    <dgm:cxn modelId="{A7FB8261-1C5B-4252-A8D8-16D45E74F3BE}" srcId="{5D1494DF-373C-4468-A49A-514319604E80}" destId="{19A21D5B-D71C-4FD8-9E7C-EB85FE5B0542}" srcOrd="1" destOrd="0" parTransId="{8003F4D9-17B5-4662-BD0D-F312A5814805}" sibTransId="{B22BB265-5E27-4145-A08D-5E02E14DB110}"/>
    <dgm:cxn modelId="{51F81242-C25B-4319-BCB3-8B6C2A82CEF5}" srcId="{5D1494DF-373C-4468-A49A-514319604E80}" destId="{485C1C6C-CBA3-47AD-8048-351450B7692D}" srcOrd="2" destOrd="0" parTransId="{186FDE2C-EEE8-4B49-A5E0-D8A7C741D8BE}" sibTransId="{BE9305D1-3CDB-4486-93A6-3B4FEE5667FC}"/>
    <dgm:cxn modelId="{1FC4456D-83E7-4ED6-9754-C538086C1A9C}" type="presOf" srcId="{75EAF1A8-6CAC-47F4-A751-86A7DE7BF4E0}" destId="{A73AE5F6-B281-4E3F-AC46-5B962412DE97}" srcOrd="0" destOrd="4" presId="urn:microsoft.com/office/officeart/2005/8/layout/vList5"/>
    <dgm:cxn modelId="{C19CDA50-0D6D-463A-9722-F62EA7C1D1C3}" type="presOf" srcId="{5D1494DF-373C-4468-A49A-514319604E80}" destId="{2621620F-01FC-4819-A3A0-A1170814BB4E}" srcOrd="0" destOrd="0" presId="urn:microsoft.com/office/officeart/2005/8/layout/vList5"/>
    <dgm:cxn modelId="{D4694175-DF85-47FA-BDE2-EB945BEFCF8A}" type="presOf" srcId="{2A814265-7A8F-4FA4-9DF2-D9AA5FC14D4A}" destId="{1CCB2482-2DBB-41BD-86F0-5B9520FC0C0C}" srcOrd="0" destOrd="0" presId="urn:microsoft.com/office/officeart/2005/8/layout/vList5"/>
    <dgm:cxn modelId="{50B18480-72D2-49FC-8BCD-8D72946EE238}" srcId="{5D1494DF-373C-4468-A49A-514319604E80}" destId="{75EAF1A8-6CAC-47F4-A751-86A7DE7BF4E0}" srcOrd="4" destOrd="0" parTransId="{883B6459-936D-4A35-A658-61F5D1B4F6CD}" sibTransId="{DC0E3525-35EE-4617-BB0F-B30BC1806364}"/>
    <dgm:cxn modelId="{5E6C4F9D-6434-4494-ACB7-3CE514D77AF0}" type="presOf" srcId="{79E95023-D513-4A4E-9FBA-F3267ED5BA10}" destId="{A73AE5F6-B281-4E3F-AC46-5B962412DE97}" srcOrd="0" destOrd="3" presId="urn:microsoft.com/office/officeart/2005/8/layout/vList5"/>
    <dgm:cxn modelId="{037651A7-9710-4AE7-A356-02ABD61DE482}" srcId="{5D1494DF-373C-4468-A49A-514319604E80}" destId="{505ADBA4-E900-4EBB-BEB6-974CFDDC29D3}" srcOrd="0" destOrd="0" parTransId="{4FCF47E0-CF4A-4001-8F26-6D35C44CEB4D}" sibTransId="{B194F090-B0D9-4F40-BBEA-D175BA892108}"/>
    <dgm:cxn modelId="{4A6977BD-DEEB-4445-9504-F7A6DAA6FF49}" type="presOf" srcId="{1AA0AFC0-2E1F-453C-9156-67A3654AFC17}" destId="{A73AE5F6-B281-4E3F-AC46-5B962412DE97}" srcOrd="0" destOrd="6" presId="urn:microsoft.com/office/officeart/2005/8/layout/vList5"/>
    <dgm:cxn modelId="{A11720CC-2D55-41CC-9204-0D3389CCEA4C}" type="presOf" srcId="{878542B7-697A-432E-9B33-404DF73C6463}" destId="{A73AE5F6-B281-4E3F-AC46-5B962412DE97}" srcOrd="0" destOrd="5" presId="urn:microsoft.com/office/officeart/2005/8/layout/vList5"/>
    <dgm:cxn modelId="{529EE5CC-74F9-409D-8CFD-CA0DE2EF1FFD}" srcId="{5D1494DF-373C-4468-A49A-514319604E80}" destId="{79E95023-D513-4A4E-9FBA-F3267ED5BA10}" srcOrd="3" destOrd="0" parTransId="{467B9A9F-B409-4508-9F22-A46E562B43D9}" sibTransId="{0FF41250-7D9B-4006-9E9D-3FD7FF9A39C6}"/>
    <dgm:cxn modelId="{A75B06CE-91EB-4765-B157-18BA4F3A5BA3}" type="presOf" srcId="{505ADBA4-E900-4EBB-BEB6-974CFDDC29D3}" destId="{A73AE5F6-B281-4E3F-AC46-5B962412DE97}" srcOrd="0" destOrd="0" presId="urn:microsoft.com/office/officeart/2005/8/layout/vList5"/>
    <dgm:cxn modelId="{F7D2D1FE-51E4-45A9-BC85-750AC18095B5}" srcId="{5D1494DF-373C-4468-A49A-514319604E80}" destId="{1AA0AFC0-2E1F-453C-9156-67A3654AFC17}" srcOrd="6" destOrd="0" parTransId="{6AD006BA-CAE0-48E1-A57D-B03B396813B3}" sibTransId="{DFD68C3E-65FD-4407-8162-BB931AD75CAA}"/>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Situaciones Excepcionales</a:t>
          </a:r>
        </a:p>
        <a:p>
          <a:r>
            <a:rPr lang="es-MX" sz="2000" dirty="0"/>
            <a:t>(Parte 2)</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400" dirty="0"/>
            <a:t>La autorización otorgada al amparo de las circunstancias señaladas en este literal podrá extenderse hasta por el plazo de un año, contado desde el término de la alerta o estado de excepción constitucional bajo el cual se otorga. Para ello, en caso de que la autorización sea para ejercer como médico cirujano, la persona deberá acreditar dentro del plazo de seis meses contados desde el término de la respectiva alerta sanitaria o estado de excepción constitucional que se encuentra inscrito para rendir el Examen Único Nacional de Conocimientos de Medicina, o aquel que lo reemplace. En el caso de ser una autorización para otro tipo de integrante del equipo de atención de salud, la persona deberá acreditar que se ha inscrito para rendir el Examen Único Nacional de Conocimientos de Salud, o el que corresponda, dentro del mismo plazo. Si no se cumpliere con esta inscripción en el plazo señalado, la autorización caducará de pleno derecho, y no podrá volver a otorgarse.</a:t>
          </a:r>
          <a:endParaRPr lang="es-CL" sz="14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15892B24-EBD0-48FE-8A84-81C16A4441AC}">
      <dgm:prSet phldrT="[Texto]" custT="1"/>
      <dgm:spPr/>
      <dgm:t>
        <a:bodyPr/>
        <a:lstStyle/>
        <a:p>
          <a:r>
            <a:rPr lang="es-MX" sz="1400" dirty="0"/>
            <a:t>Asimismo, la Secretaría Regional Ministerial de Salud respectiva podrá autorizar a profesionales especialistas, para el ejercicio de su respectiva especialidad, hasta por el plazo de un año a contar del término de vigencia de la alerta sanitaria o del estado de excepción constitucional respectivo. Para ello, la o el profesional deberá acreditar que se encuentra inscrito para certificar la respectiva especialidad, de acuerdo con las normas que se aplican al Sistema de Certificación de especialidades y subespecialidades. Este plazo solo podrá prorrogarse, por una sola vez y hasta seis meses contados desde el vencimiento del plazo original, si a su término, la o el profesional no ha certificado la especialidad por causa atribuible a la respectiva entidad certificadora en la que se inscribió al obtener la autorización. Transcurrido este plazo, la autorización caducará de pleno derecho y no podrá otorgarse esta al mismo profesional si se trata de la misma especialidad.</a:t>
          </a:r>
          <a:endParaRPr lang="es-CL" sz="1400" dirty="0"/>
        </a:p>
      </dgm:t>
    </dgm:pt>
    <dgm:pt modelId="{04E10C62-9654-464C-BF19-74CDDDB2E9EF}" type="parTrans" cxnId="{6405F7F1-F477-4A27-BA8E-6761367DD03F}">
      <dgm:prSet/>
      <dgm:spPr/>
      <dgm:t>
        <a:bodyPr/>
        <a:lstStyle/>
        <a:p>
          <a:endParaRPr lang="es-CL"/>
        </a:p>
      </dgm:t>
    </dgm:pt>
    <dgm:pt modelId="{72017663-2F4F-4D57-AFE5-7FB028CA3162}" type="sibTrans" cxnId="{6405F7F1-F477-4A27-BA8E-6761367DD03F}">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1" custScaleX="72670" custScaleY="100098"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1" custScaleX="137042" custScaleY="108722">
        <dgm:presLayoutVars>
          <dgm:bulletEnabled val="1"/>
        </dgm:presLayoutVars>
      </dgm:prSet>
      <dgm:spPr/>
    </dgm:pt>
  </dgm:ptLst>
  <dgm:cxnLst>
    <dgm:cxn modelId="{59856619-26CF-4B76-8680-63162A99CC1E}" srcId="{2A814265-7A8F-4FA4-9DF2-D9AA5FC14D4A}" destId="{5D1494DF-373C-4468-A49A-514319604E80}" srcOrd="0" destOrd="0" parTransId="{01A40260-E3FB-40EE-96FD-BA1B75812747}" sibTransId="{517F4B9A-59FA-489D-B8E5-338D6F15EAC2}"/>
    <dgm:cxn modelId="{C69F0763-570D-41CD-B422-FA4F07DE9DF7}" type="presOf" srcId="{15892B24-EBD0-48FE-8A84-81C16A4441AC}" destId="{A73AE5F6-B281-4E3F-AC46-5B962412DE97}" srcOrd="0" destOrd="1" presId="urn:microsoft.com/office/officeart/2005/8/layout/vList5"/>
    <dgm:cxn modelId="{C19CDA50-0D6D-463A-9722-F62EA7C1D1C3}" type="presOf" srcId="{5D1494DF-373C-4468-A49A-514319604E80}" destId="{2621620F-01FC-4819-A3A0-A1170814BB4E}" srcOrd="0" destOrd="0" presId="urn:microsoft.com/office/officeart/2005/8/layout/vList5"/>
    <dgm:cxn modelId="{D4694175-DF85-47FA-BDE2-EB945BEFCF8A}" type="presOf" srcId="{2A814265-7A8F-4FA4-9DF2-D9AA5FC14D4A}" destId="{1CCB2482-2DBB-41BD-86F0-5B9520FC0C0C}" srcOrd="0" destOrd="0" presId="urn:microsoft.com/office/officeart/2005/8/layout/vList5"/>
    <dgm:cxn modelId="{037651A7-9710-4AE7-A356-02ABD61DE482}" srcId="{5D1494DF-373C-4468-A49A-514319604E80}" destId="{505ADBA4-E900-4EBB-BEB6-974CFDDC29D3}" srcOrd="0" destOrd="0" parTransId="{4FCF47E0-CF4A-4001-8F26-6D35C44CEB4D}" sibTransId="{B194F090-B0D9-4F40-BBEA-D175BA892108}"/>
    <dgm:cxn modelId="{A75B06CE-91EB-4765-B157-18BA4F3A5BA3}" type="presOf" srcId="{505ADBA4-E900-4EBB-BEB6-974CFDDC29D3}" destId="{A73AE5F6-B281-4E3F-AC46-5B962412DE97}" srcOrd="0" destOrd="0" presId="urn:microsoft.com/office/officeart/2005/8/layout/vList5"/>
    <dgm:cxn modelId="{6405F7F1-F477-4A27-BA8E-6761367DD03F}" srcId="{5D1494DF-373C-4468-A49A-514319604E80}" destId="{15892B24-EBD0-48FE-8A84-81C16A4441AC}" srcOrd="1" destOrd="0" parTransId="{04E10C62-9654-464C-BF19-74CDDDB2E9EF}" sibTransId="{72017663-2F4F-4D57-AFE5-7FB028CA3162}"/>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Situaciones Excepcionales</a:t>
          </a:r>
        </a:p>
        <a:p>
          <a:r>
            <a:rPr lang="es-MX" sz="2000" dirty="0"/>
            <a:t>(Parte 3)</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endParaRPr lang="es-CL" sz="16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C6783891-82E2-4415-9B8A-D66E7BA7E27B}">
      <dgm:prSet custT="1"/>
      <dgm:spPr/>
      <dgm:t>
        <a:bodyPr/>
        <a:lstStyle/>
        <a:p>
          <a:endParaRPr lang="es-CL" sz="1600" dirty="0"/>
        </a:p>
      </dgm:t>
    </dgm:pt>
    <dgm:pt modelId="{D88A4F54-9D30-4F90-8EFF-464AA1087186}" type="parTrans" cxnId="{94BA2A08-0098-4128-9A29-DF7F61C41118}">
      <dgm:prSet/>
      <dgm:spPr/>
      <dgm:t>
        <a:bodyPr/>
        <a:lstStyle/>
        <a:p>
          <a:endParaRPr lang="es-CL"/>
        </a:p>
      </dgm:t>
    </dgm:pt>
    <dgm:pt modelId="{DA4387CC-3D89-473E-B8F7-BEB2DF47EA6B}" type="sibTrans" cxnId="{94BA2A08-0098-4128-9A29-DF7F61C41118}">
      <dgm:prSet/>
      <dgm:spPr/>
      <dgm:t>
        <a:bodyPr/>
        <a:lstStyle/>
        <a:p>
          <a:endParaRPr lang="es-CL"/>
        </a:p>
      </dgm:t>
    </dgm:pt>
    <dgm:pt modelId="{1A5D64EE-88C9-429C-A19A-9C8FAC837555}">
      <dgm:prSet custT="1"/>
      <dgm:spPr/>
      <dgm:t>
        <a:bodyPr/>
        <a:lstStyle/>
        <a:p>
          <a:r>
            <a:rPr lang="es-MX" sz="1600" dirty="0"/>
            <a:t>En el caso de las y los estudiantes de las carreras que conducen a título profesional, técnicos o auxiliares contemplados en este Libro y que se encuentren cursando su último año, internado o en periodo de práctica final, podrán -bajo supervisión profesional directa- ejercer en los términos señalados en el párrafo segundo de esta letra.</a:t>
          </a:r>
          <a:endParaRPr lang="es-CL" sz="1600" dirty="0"/>
        </a:p>
      </dgm:t>
    </dgm:pt>
    <dgm:pt modelId="{959017CE-D87B-42C0-A936-FE1427920FAD}" type="parTrans" cxnId="{C1B5675D-C712-482A-ABB5-C07104AC15DD}">
      <dgm:prSet/>
      <dgm:spPr/>
      <dgm:t>
        <a:bodyPr/>
        <a:lstStyle/>
        <a:p>
          <a:endParaRPr lang="es-CL"/>
        </a:p>
      </dgm:t>
    </dgm:pt>
    <dgm:pt modelId="{B88848B8-20AC-410A-A0DE-96AE6FD0535B}" type="sibTrans" cxnId="{C1B5675D-C712-482A-ABB5-C07104AC15DD}">
      <dgm:prSet/>
      <dgm:spPr/>
      <dgm:t>
        <a:bodyPr/>
        <a:lstStyle/>
        <a:p>
          <a:endParaRPr lang="es-CL"/>
        </a:p>
      </dgm:t>
    </dgm:pt>
    <dgm:pt modelId="{7D557F7F-C98A-4732-A6C6-A9EC86F72803}">
      <dgm:prSet custT="1"/>
      <dgm:spPr/>
      <dgm:t>
        <a:bodyPr/>
        <a:lstStyle/>
        <a:p>
          <a:endParaRPr lang="es-CL" sz="1600" dirty="0"/>
        </a:p>
      </dgm:t>
    </dgm:pt>
    <dgm:pt modelId="{995F52F3-76CF-4388-9A36-1AFBE176C6D4}" type="parTrans" cxnId="{564CDCD4-F7CC-4934-AFB6-EB239905D54D}">
      <dgm:prSet/>
      <dgm:spPr/>
      <dgm:t>
        <a:bodyPr/>
        <a:lstStyle/>
        <a:p>
          <a:endParaRPr lang="es-CL"/>
        </a:p>
      </dgm:t>
    </dgm:pt>
    <dgm:pt modelId="{3EB87E63-2D01-4513-84D1-7B4FFB65AC24}" type="sibTrans" cxnId="{564CDCD4-F7CC-4934-AFB6-EB239905D54D}">
      <dgm:prSet/>
      <dgm:spPr/>
      <dgm:t>
        <a:bodyPr/>
        <a:lstStyle/>
        <a:p>
          <a:endParaRPr lang="es-CL"/>
        </a:p>
      </dgm:t>
    </dgm:pt>
    <dgm:pt modelId="{154D2CD9-2E9D-44C9-9DB1-AA7727C8902F}">
      <dgm:prSet custT="1"/>
      <dgm:spPr/>
      <dgm:t>
        <a:bodyPr/>
        <a:lstStyle/>
        <a:p>
          <a:r>
            <a:rPr lang="es-MX" sz="1600" dirty="0"/>
            <a:t>Estas autorizaciones deberán cumplir las demás disposiciones sanitarias aplicables al otorgamiento de acciones de salud que rigen en el territorio nacional.</a:t>
          </a:r>
          <a:endParaRPr lang="es-CL" sz="1600" dirty="0"/>
        </a:p>
      </dgm:t>
    </dgm:pt>
    <dgm:pt modelId="{AE744596-AFA8-405E-BC9E-43CBDA03E90F}" type="parTrans" cxnId="{FD8C9CB5-0006-4924-BE05-53B76FBC1B1A}">
      <dgm:prSet/>
      <dgm:spPr/>
      <dgm:t>
        <a:bodyPr/>
        <a:lstStyle/>
        <a:p>
          <a:endParaRPr lang="es-CL"/>
        </a:p>
      </dgm:t>
    </dgm:pt>
    <dgm:pt modelId="{0D681743-6A9C-4FBD-A188-CD25039055DA}" type="sibTrans" cxnId="{FD8C9CB5-0006-4924-BE05-53B76FBC1B1A}">
      <dgm:prSet/>
      <dgm:spPr/>
      <dgm:t>
        <a:bodyPr/>
        <a:lstStyle/>
        <a:p>
          <a:endParaRPr lang="es-CL"/>
        </a:p>
      </dgm:t>
    </dgm:pt>
    <dgm:pt modelId="{E0C2DC7D-82AE-4A8D-BB7C-7030C0FF6664}">
      <dgm:prSet custT="1"/>
      <dgm:spPr/>
      <dgm:t>
        <a:bodyPr/>
        <a:lstStyle/>
        <a:p>
          <a:endParaRPr lang="es-CL" sz="1600" dirty="0"/>
        </a:p>
      </dgm:t>
    </dgm:pt>
    <dgm:pt modelId="{41F08B19-598E-488D-BFCB-CB96CA2C2C89}" type="parTrans" cxnId="{B66F96AC-A4BD-49B3-A705-789ACC6E6331}">
      <dgm:prSet/>
      <dgm:spPr/>
      <dgm:t>
        <a:bodyPr/>
        <a:lstStyle/>
        <a:p>
          <a:endParaRPr lang="es-CL"/>
        </a:p>
      </dgm:t>
    </dgm:pt>
    <dgm:pt modelId="{D6E6A8A0-2ECF-4EDB-8910-25776BD167F7}" type="sibTrans" cxnId="{B66F96AC-A4BD-49B3-A705-789ACC6E6331}">
      <dgm:prSet/>
      <dgm:spPr/>
      <dgm:t>
        <a:bodyPr/>
        <a:lstStyle/>
        <a:p>
          <a:endParaRPr lang="es-CL"/>
        </a:p>
      </dgm:t>
    </dgm:pt>
    <dgm:pt modelId="{6A2C8EB8-E565-456D-858E-0A34E4CCFC79}">
      <dgm:prSet custT="1"/>
      <dgm:spPr/>
      <dgm:t>
        <a:bodyPr/>
        <a:lstStyle/>
        <a:p>
          <a:r>
            <a:rPr lang="es-MX" sz="1600" dirty="0"/>
            <a:t>El reglamento a que hace referencia el inciso primero del presente artículo establecerá los criterios, procedimientos y demás condiciones necesarias para que la autoridad sanitaria pueda otorgar y revocar estar autorizaciones.</a:t>
          </a:r>
          <a:endParaRPr lang="es-CL" sz="1600" dirty="0"/>
        </a:p>
      </dgm:t>
    </dgm:pt>
    <dgm:pt modelId="{84B990AA-2F53-4BE8-ACED-3460FC228E22}" type="parTrans" cxnId="{21001DEA-3CED-4E4F-AC5F-E384C62DFD54}">
      <dgm:prSet/>
      <dgm:spPr/>
      <dgm:t>
        <a:bodyPr/>
        <a:lstStyle/>
        <a:p>
          <a:endParaRPr lang="es-CL"/>
        </a:p>
      </dgm:t>
    </dgm:pt>
    <dgm:pt modelId="{2DD7CA98-9518-4213-BEE6-0AF7CB55F466}" type="sibTrans" cxnId="{21001DEA-3CED-4E4F-AC5F-E384C62DFD54}">
      <dgm:prSet/>
      <dgm:spPr/>
      <dgm:t>
        <a:bodyPr/>
        <a:lstStyle/>
        <a:p>
          <a:endParaRPr lang="es-CL"/>
        </a:p>
      </dgm:t>
    </dgm:pt>
    <dgm:pt modelId="{9395BD3A-510C-4C47-9A0F-675589BA0EE9}">
      <dgm:prSet custT="1"/>
      <dgm:spPr/>
      <dgm:t>
        <a:bodyPr/>
        <a:lstStyle/>
        <a:p>
          <a:endParaRPr lang="es-CL" sz="1600" dirty="0"/>
        </a:p>
      </dgm:t>
    </dgm:pt>
    <dgm:pt modelId="{66B182CC-6FE4-499D-84E1-BBA5291EDDD1}" type="parTrans" cxnId="{87103F92-5E6A-411C-BBDF-4E4A553C22FA}">
      <dgm:prSet/>
      <dgm:spPr/>
      <dgm:t>
        <a:bodyPr/>
        <a:lstStyle/>
        <a:p>
          <a:endParaRPr lang="es-CL"/>
        </a:p>
      </dgm:t>
    </dgm:pt>
    <dgm:pt modelId="{6F29B50D-8CF2-4D4A-AEED-CC4FF1449701}" type="sibTrans" cxnId="{87103F92-5E6A-411C-BBDF-4E4A553C22FA}">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1" custScaleX="72670" custScaleY="88436"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1" custScaleX="137042" custScaleY="86857">
        <dgm:presLayoutVars>
          <dgm:bulletEnabled val="1"/>
        </dgm:presLayoutVars>
      </dgm:prSet>
      <dgm:spPr/>
    </dgm:pt>
  </dgm:ptLst>
  <dgm:cxnLst>
    <dgm:cxn modelId="{94BA2A08-0098-4128-9A29-DF7F61C41118}" srcId="{5D1494DF-373C-4468-A49A-514319604E80}" destId="{C6783891-82E2-4415-9B8A-D66E7BA7E27B}" srcOrd="1" destOrd="0" parTransId="{D88A4F54-9D30-4F90-8EFF-464AA1087186}" sibTransId="{DA4387CC-3D89-473E-B8F7-BEB2DF47EA6B}"/>
    <dgm:cxn modelId="{59856619-26CF-4B76-8680-63162A99CC1E}" srcId="{2A814265-7A8F-4FA4-9DF2-D9AA5FC14D4A}" destId="{5D1494DF-373C-4468-A49A-514319604E80}" srcOrd="0" destOrd="0" parTransId="{01A40260-E3FB-40EE-96FD-BA1B75812747}" sibTransId="{517F4B9A-59FA-489D-B8E5-338D6F15EAC2}"/>
    <dgm:cxn modelId="{18E9FC1F-BE30-408E-9E02-16B9FFD1BE95}" type="presOf" srcId="{E0C2DC7D-82AE-4A8D-BB7C-7030C0FF6664}" destId="{A73AE5F6-B281-4E3F-AC46-5B962412DE97}" srcOrd="0" destOrd="5" presId="urn:microsoft.com/office/officeart/2005/8/layout/vList5"/>
    <dgm:cxn modelId="{C1B5675D-C712-482A-ABB5-C07104AC15DD}" srcId="{5D1494DF-373C-4468-A49A-514319604E80}" destId="{1A5D64EE-88C9-429C-A19A-9C8FAC837555}" srcOrd="2" destOrd="0" parTransId="{959017CE-D87B-42C0-A936-FE1427920FAD}" sibTransId="{B88848B8-20AC-410A-A0DE-96AE6FD0535B}"/>
    <dgm:cxn modelId="{D1F91A60-AECA-473B-8E11-ADBFC8953028}" type="presOf" srcId="{7D557F7F-C98A-4732-A6C6-A9EC86F72803}" destId="{A73AE5F6-B281-4E3F-AC46-5B962412DE97}" srcOrd="0" destOrd="3" presId="urn:microsoft.com/office/officeart/2005/8/layout/vList5"/>
    <dgm:cxn modelId="{C19CDA50-0D6D-463A-9722-F62EA7C1D1C3}" type="presOf" srcId="{5D1494DF-373C-4468-A49A-514319604E80}" destId="{2621620F-01FC-4819-A3A0-A1170814BB4E}" srcOrd="0" destOrd="0" presId="urn:microsoft.com/office/officeart/2005/8/layout/vList5"/>
    <dgm:cxn modelId="{03049674-E70C-4959-8B29-D67005408DD9}" type="presOf" srcId="{1A5D64EE-88C9-429C-A19A-9C8FAC837555}" destId="{A73AE5F6-B281-4E3F-AC46-5B962412DE97}" srcOrd="0" destOrd="2" presId="urn:microsoft.com/office/officeart/2005/8/layout/vList5"/>
    <dgm:cxn modelId="{D4694175-DF85-47FA-BDE2-EB945BEFCF8A}" type="presOf" srcId="{2A814265-7A8F-4FA4-9DF2-D9AA5FC14D4A}" destId="{1CCB2482-2DBB-41BD-86F0-5B9520FC0C0C}" srcOrd="0" destOrd="0" presId="urn:microsoft.com/office/officeart/2005/8/layout/vList5"/>
    <dgm:cxn modelId="{29097F83-0ED8-4438-B8DB-047F39334692}" type="presOf" srcId="{9395BD3A-510C-4C47-9A0F-675589BA0EE9}" destId="{A73AE5F6-B281-4E3F-AC46-5B962412DE97}" srcOrd="0" destOrd="7" presId="urn:microsoft.com/office/officeart/2005/8/layout/vList5"/>
    <dgm:cxn modelId="{87103F92-5E6A-411C-BBDF-4E4A553C22FA}" srcId="{5D1494DF-373C-4468-A49A-514319604E80}" destId="{9395BD3A-510C-4C47-9A0F-675589BA0EE9}" srcOrd="7" destOrd="0" parTransId="{66B182CC-6FE4-499D-84E1-BBA5291EDDD1}" sibTransId="{6F29B50D-8CF2-4D4A-AEED-CC4FF1449701}"/>
    <dgm:cxn modelId="{F8B1999B-DEA7-41C1-9812-C24E847A1D19}" type="presOf" srcId="{6A2C8EB8-E565-456D-858E-0A34E4CCFC79}" destId="{A73AE5F6-B281-4E3F-AC46-5B962412DE97}" srcOrd="0" destOrd="6" presId="urn:microsoft.com/office/officeart/2005/8/layout/vList5"/>
    <dgm:cxn modelId="{037651A7-9710-4AE7-A356-02ABD61DE482}" srcId="{5D1494DF-373C-4468-A49A-514319604E80}" destId="{505ADBA4-E900-4EBB-BEB6-974CFDDC29D3}" srcOrd="0" destOrd="0" parTransId="{4FCF47E0-CF4A-4001-8F26-6D35C44CEB4D}" sibTransId="{B194F090-B0D9-4F40-BBEA-D175BA892108}"/>
    <dgm:cxn modelId="{B66F96AC-A4BD-49B3-A705-789ACC6E6331}" srcId="{5D1494DF-373C-4468-A49A-514319604E80}" destId="{E0C2DC7D-82AE-4A8D-BB7C-7030C0FF6664}" srcOrd="5" destOrd="0" parTransId="{41F08B19-598E-488D-BFCB-CB96CA2C2C89}" sibTransId="{D6E6A8A0-2ECF-4EDB-8910-25776BD167F7}"/>
    <dgm:cxn modelId="{FD8C9CB5-0006-4924-BE05-53B76FBC1B1A}" srcId="{5D1494DF-373C-4468-A49A-514319604E80}" destId="{154D2CD9-2E9D-44C9-9DB1-AA7727C8902F}" srcOrd="4" destOrd="0" parTransId="{AE744596-AFA8-405E-BC9E-43CBDA03E90F}" sibTransId="{0D681743-6A9C-4FBD-A188-CD25039055DA}"/>
    <dgm:cxn modelId="{004B9ACB-DFF1-4F4D-9673-FC4741109C33}" type="presOf" srcId="{C6783891-82E2-4415-9B8A-D66E7BA7E27B}" destId="{A73AE5F6-B281-4E3F-AC46-5B962412DE97}" srcOrd="0" destOrd="1" presId="urn:microsoft.com/office/officeart/2005/8/layout/vList5"/>
    <dgm:cxn modelId="{A75B06CE-91EB-4765-B157-18BA4F3A5BA3}" type="presOf" srcId="{505ADBA4-E900-4EBB-BEB6-974CFDDC29D3}" destId="{A73AE5F6-B281-4E3F-AC46-5B962412DE97}" srcOrd="0" destOrd="0" presId="urn:microsoft.com/office/officeart/2005/8/layout/vList5"/>
    <dgm:cxn modelId="{564CDCD4-F7CC-4934-AFB6-EB239905D54D}" srcId="{5D1494DF-373C-4468-A49A-514319604E80}" destId="{7D557F7F-C98A-4732-A6C6-A9EC86F72803}" srcOrd="3" destOrd="0" parTransId="{995F52F3-76CF-4388-9A36-1AFBE176C6D4}" sibTransId="{3EB87E63-2D01-4513-84D1-7B4FFB65AC24}"/>
    <dgm:cxn modelId="{21001DEA-3CED-4E4F-AC5F-E384C62DFD54}" srcId="{5D1494DF-373C-4468-A49A-514319604E80}" destId="{6A2C8EB8-E565-456D-858E-0A34E4CCFC79}" srcOrd="6" destOrd="0" parTransId="{84B990AA-2F53-4BE8-ACED-3460FC228E22}" sibTransId="{2DD7CA98-9518-4213-BEE6-0AF7CB55F466}"/>
    <dgm:cxn modelId="{E69BC6ED-6A19-4DA2-A1B5-3EA9342FAD83}" type="presOf" srcId="{154D2CD9-2E9D-44C9-9DB1-AA7727C8902F}" destId="{A73AE5F6-B281-4E3F-AC46-5B962412DE97}" srcOrd="0" destOrd="4" presId="urn:microsoft.com/office/officeart/2005/8/layout/vList5"/>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Prescripción de productos farmacéuticos e Indicación de dispositivos médicos, ayudas técnicas y alimentos de uso médico</a:t>
          </a:r>
        </a:p>
        <a:p>
          <a:r>
            <a:rPr lang="es-MX" sz="2000" dirty="0"/>
            <a:t>(Parte 1)</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400" dirty="0"/>
            <a:t>La prescripción de productos farmacéuticos y la indicación de dispositivos de uso médico, ayudas técnicas y alimentos de uso médico a los que se refiere el Libro Cuarto, constituyen un acto de la o el médico cirujano en toda ocasión, de la o el cirujano dentista, y la o el médico veterinario en su ámbito de acción, el o la matrona de acuerdo a lo indicado en el inciso cuarto del artículo 114° D, y de la o el tecnólogo médico mención en oftalmología de acuerdo a lo indicado en el literal e) del artículo 114° K; todos actuando como prescriptor independiente, entendido como el profesional que posee plena autoridad de prescribir productos farmacéuticos e indicar dispositivos de uso médico, ayudas técnicas y alimentos de uso médico en el ámbito de aplicación definido según sus competencias.</a:t>
          </a:r>
          <a:endParaRPr lang="es-CL" sz="14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7749FCF3-DA62-401B-95CD-A7CF163148EC}">
      <dgm:prSet custT="1"/>
      <dgm:spPr/>
      <dgm:t>
        <a:bodyPr/>
        <a:lstStyle/>
        <a:p>
          <a:endParaRPr lang="es-CL" sz="1400" dirty="0"/>
        </a:p>
      </dgm:t>
    </dgm:pt>
    <dgm:pt modelId="{13FE1743-18DF-4356-BFA9-3513445A94BA}" type="parTrans" cxnId="{7BD5A863-E051-4A6E-806F-056BB54413EF}">
      <dgm:prSet/>
      <dgm:spPr/>
      <dgm:t>
        <a:bodyPr/>
        <a:lstStyle/>
        <a:p>
          <a:endParaRPr lang="es-CL"/>
        </a:p>
      </dgm:t>
    </dgm:pt>
    <dgm:pt modelId="{8E912ADA-C1AF-46C0-A3D2-ACA5DB9C52DE}" type="sibTrans" cxnId="{7BD5A863-E051-4A6E-806F-056BB54413EF}">
      <dgm:prSet/>
      <dgm:spPr/>
      <dgm:t>
        <a:bodyPr/>
        <a:lstStyle/>
        <a:p>
          <a:endParaRPr lang="es-CL"/>
        </a:p>
      </dgm:t>
    </dgm:pt>
    <dgm:pt modelId="{DCFECB60-7C4C-491F-A150-94D6122E2F3E}">
      <dgm:prSet custT="1"/>
      <dgm:spPr/>
      <dgm:t>
        <a:bodyPr/>
        <a:lstStyle/>
        <a:p>
          <a:r>
            <a:rPr lang="es-MX" sz="1400" dirty="0"/>
            <a:t>Sin perjuicio de lo establecido en el inciso anterior, las y los profesionales no médicos mencionados en este Libro y que se incluyan en el reglamento a que se hace referencia en este artículo, podrán actuar como prescriptor suplementario. Se entiende por prescriptor suplementario a la o el profesional que efectúa prescripción de productos farmacéuticos o indicación de dispositivos de uso médico, ayudas técnicas y alimentos de uso médico en su ámbito de acción; en el ejercicio de su profesión y al interior del establecimiento de salud respectivo. </a:t>
          </a:r>
          <a:endParaRPr lang="es-CL" sz="1400" dirty="0"/>
        </a:p>
      </dgm:t>
    </dgm:pt>
    <dgm:pt modelId="{8930ED93-F3C7-4B8C-B072-95B79D42F936}" type="parTrans" cxnId="{AD5393B6-A0B7-42C8-8A87-604BA54CD1BE}">
      <dgm:prSet/>
      <dgm:spPr/>
      <dgm:t>
        <a:bodyPr/>
        <a:lstStyle/>
        <a:p>
          <a:endParaRPr lang="es-CL"/>
        </a:p>
      </dgm:t>
    </dgm:pt>
    <dgm:pt modelId="{5CD851AF-0D62-405E-933B-24CD92FDC4A9}" type="sibTrans" cxnId="{AD5393B6-A0B7-42C8-8A87-604BA54CD1BE}">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1" custScaleX="72670" custScaleY="100098"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1" custScaleX="137042" custScaleY="108722">
        <dgm:presLayoutVars>
          <dgm:bulletEnabled val="1"/>
        </dgm:presLayoutVars>
      </dgm:prSet>
      <dgm:spPr/>
    </dgm:pt>
  </dgm:ptLst>
  <dgm:cxnLst>
    <dgm:cxn modelId="{59856619-26CF-4B76-8680-63162A99CC1E}" srcId="{2A814265-7A8F-4FA4-9DF2-D9AA5FC14D4A}" destId="{5D1494DF-373C-4468-A49A-514319604E80}" srcOrd="0" destOrd="0" parTransId="{01A40260-E3FB-40EE-96FD-BA1B75812747}" sibTransId="{517F4B9A-59FA-489D-B8E5-338D6F15EAC2}"/>
    <dgm:cxn modelId="{7BD5A863-E051-4A6E-806F-056BB54413EF}" srcId="{5D1494DF-373C-4468-A49A-514319604E80}" destId="{7749FCF3-DA62-401B-95CD-A7CF163148EC}" srcOrd="1" destOrd="0" parTransId="{13FE1743-18DF-4356-BFA9-3513445A94BA}" sibTransId="{8E912ADA-C1AF-46C0-A3D2-ACA5DB9C52DE}"/>
    <dgm:cxn modelId="{C19CDA50-0D6D-463A-9722-F62EA7C1D1C3}" type="presOf" srcId="{5D1494DF-373C-4468-A49A-514319604E80}" destId="{2621620F-01FC-4819-A3A0-A1170814BB4E}" srcOrd="0" destOrd="0" presId="urn:microsoft.com/office/officeart/2005/8/layout/vList5"/>
    <dgm:cxn modelId="{D4694175-DF85-47FA-BDE2-EB945BEFCF8A}" type="presOf" srcId="{2A814265-7A8F-4FA4-9DF2-D9AA5FC14D4A}" destId="{1CCB2482-2DBB-41BD-86F0-5B9520FC0C0C}" srcOrd="0" destOrd="0" presId="urn:microsoft.com/office/officeart/2005/8/layout/vList5"/>
    <dgm:cxn modelId="{037651A7-9710-4AE7-A356-02ABD61DE482}" srcId="{5D1494DF-373C-4468-A49A-514319604E80}" destId="{505ADBA4-E900-4EBB-BEB6-974CFDDC29D3}" srcOrd="0" destOrd="0" parTransId="{4FCF47E0-CF4A-4001-8F26-6D35C44CEB4D}" sibTransId="{B194F090-B0D9-4F40-BBEA-D175BA892108}"/>
    <dgm:cxn modelId="{AD5393B6-A0B7-42C8-8A87-604BA54CD1BE}" srcId="{5D1494DF-373C-4468-A49A-514319604E80}" destId="{DCFECB60-7C4C-491F-A150-94D6122E2F3E}" srcOrd="2" destOrd="0" parTransId="{8930ED93-F3C7-4B8C-B072-95B79D42F936}" sibTransId="{5CD851AF-0D62-405E-933B-24CD92FDC4A9}"/>
    <dgm:cxn modelId="{A75B06CE-91EB-4765-B157-18BA4F3A5BA3}" type="presOf" srcId="{505ADBA4-E900-4EBB-BEB6-974CFDDC29D3}" destId="{A73AE5F6-B281-4E3F-AC46-5B962412DE97}" srcOrd="0" destOrd="0" presId="urn:microsoft.com/office/officeart/2005/8/layout/vList5"/>
    <dgm:cxn modelId="{3FECF8DC-301F-4675-9D0D-AAF25E9E57EA}" type="presOf" srcId="{DCFECB60-7C4C-491F-A150-94D6122E2F3E}" destId="{A73AE5F6-B281-4E3F-AC46-5B962412DE97}" srcOrd="0" destOrd="2" presId="urn:microsoft.com/office/officeart/2005/8/layout/vList5"/>
    <dgm:cxn modelId="{4FE063E3-E9A0-42C0-A236-FD1B349A6A17}" type="presOf" srcId="{7749FCF3-DA62-401B-95CD-A7CF163148EC}" destId="{A73AE5F6-B281-4E3F-AC46-5B962412DE97}" srcOrd="0" destOrd="1" presId="urn:microsoft.com/office/officeart/2005/8/layout/vList5"/>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Prescripción de productos farmacéuticos e Indicación de dispositivos médicos, ayudas técnicas y alimentos de uso médico</a:t>
          </a:r>
        </a:p>
        <a:p>
          <a:r>
            <a:rPr lang="es-MX" sz="2000" dirty="0"/>
            <a:t>(Parte 2)</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400" dirty="0"/>
            <a:t>Para ser prescriptor suplementario deben concurrir de manera copulativa los siguientes requisitos: </a:t>
          </a:r>
          <a:endParaRPr lang="es-CL" sz="14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32906DF0-BDB0-47FB-8387-1513ACCE3B02}">
      <dgm:prSet custT="1"/>
      <dgm:spPr/>
      <dgm:t>
        <a:bodyPr/>
        <a:lstStyle/>
        <a:p>
          <a:endParaRPr lang="es-CL" sz="1400" dirty="0"/>
        </a:p>
      </dgm:t>
    </dgm:pt>
    <dgm:pt modelId="{E3911A47-0A53-4604-83BE-574326B27303}" type="parTrans" cxnId="{37BEDDB4-4634-45D9-B8BA-1D387E6D0E1A}">
      <dgm:prSet/>
      <dgm:spPr/>
      <dgm:t>
        <a:bodyPr/>
        <a:lstStyle/>
        <a:p>
          <a:endParaRPr lang="es-CL"/>
        </a:p>
      </dgm:t>
    </dgm:pt>
    <dgm:pt modelId="{C6092E60-3024-413A-8658-FCD750DE4AE6}" type="sibTrans" cxnId="{37BEDDB4-4634-45D9-B8BA-1D387E6D0E1A}">
      <dgm:prSet/>
      <dgm:spPr/>
      <dgm:t>
        <a:bodyPr/>
        <a:lstStyle/>
        <a:p>
          <a:endParaRPr lang="es-CL"/>
        </a:p>
      </dgm:t>
    </dgm:pt>
    <dgm:pt modelId="{89DC7E20-CAF2-40CA-9C07-0446E61AABAF}">
      <dgm:prSet custT="1"/>
      <dgm:spPr/>
      <dgm:t>
        <a:bodyPr/>
        <a:lstStyle/>
        <a:p>
          <a:pPr>
            <a:buFont typeface="+mj-lt"/>
            <a:buAutoNum type="alphaLcParenR"/>
          </a:pPr>
          <a:r>
            <a:rPr lang="es-MX" sz="1400" dirty="0"/>
            <a:t> Que exista un diagnóstico médico previo del paciente que requiera prescripción o indicación suplementaria dentro del ámbito de acción de la o el profesional que otorga la receta y/u orden.</a:t>
          </a:r>
          <a:endParaRPr lang="es-CL" sz="1400" dirty="0"/>
        </a:p>
      </dgm:t>
    </dgm:pt>
    <dgm:pt modelId="{715B53DF-CDF8-45E0-BCEE-800D62BBBB7B}" type="parTrans" cxnId="{F1CC474F-9D06-4C5F-B74E-FC74D6F054C1}">
      <dgm:prSet/>
      <dgm:spPr/>
      <dgm:t>
        <a:bodyPr/>
        <a:lstStyle/>
        <a:p>
          <a:endParaRPr lang="es-CL"/>
        </a:p>
      </dgm:t>
    </dgm:pt>
    <dgm:pt modelId="{C5D110B7-0A74-4E35-BA72-715BFD4124C2}" type="sibTrans" cxnId="{F1CC474F-9D06-4C5F-B74E-FC74D6F054C1}">
      <dgm:prSet/>
      <dgm:spPr/>
      <dgm:t>
        <a:bodyPr/>
        <a:lstStyle/>
        <a:p>
          <a:endParaRPr lang="es-CL"/>
        </a:p>
      </dgm:t>
    </dgm:pt>
    <dgm:pt modelId="{86D08550-AF08-43E7-BE27-D4C382BB8C44}">
      <dgm:prSet custT="1"/>
      <dgm:spPr/>
      <dgm:t>
        <a:bodyPr/>
        <a:lstStyle/>
        <a:p>
          <a:pPr>
            <a:buFont typeface="+mj-lt"/>
            <a:buAutoNum type="alphaLcParenR"/>
          </a:pPr>
          <a:r>
            <a:rPr lang="es-MX" sz="1400" dirty="0"/>
            <a:t> Que exista un vínculo contractual vigente entre la o el profesional y el establecimiento de salud donde ejerce su profesión.</a:t>
          </a:r>
          <a:endParaRPr lang="es-CL" sz="1400" dirty="0"/>
        </a:p>
      </dgm:t>
    </dgm:pt>
    <dgm:pt modelId="{1D86D914-96D5-4CCE-BA94-CD3C6DC58E33}" type="parTrans" cxnId="{A6641550-0E92-4967-BD3B-0574A904B62E}">
      <dgm:prSet/>
      <dgm:spPr/>
      <dgm:t>
        <a:bodyPr/>
        <a:lstStyle/>
        <a:p>
          <a:endParaRPr lang="es-CL"/>
        </a:p>
      </dgm:t>
    </dgm:pt>
    <dgm:pt modelId="{D4E28D7F-CF01-467E-84B6-22F7462F87AD}" type="sibTrans" cxnId="{A6641550-0E92-4967-BD3B-0574A904B62E}">
      <dgm:prSet/>
      <dgm:spPr/>
      <dgm:t>
        <a:bodyPr/>
        <a:lstStyle/>
        <a:p>
          <a:endParaRPr lang="es-CL"/>
        </a:p>
      </dgm:t>
    </dgm:pt>
    <dgm:pt modelId="{CF472794-7462-40A7-804A-DC2C53A2F3CC}">
      <dgm:prSet custT="1"/>
      <dgm:spPr/>
      <dgm:t>
        <a:bodyPr/>
        <a:lstStyle/>
        <a:p>
          <a:pPr>
            <a:buFont typeface="+mj-lt"/>
            <a:buAutoNum type="alphaLcParenR"/>
          </a:pPr>
          <a:r>
            <a:rPr lang="es-MX" sz="1400" dirty="0"/>
            <a:t> Que la o el profesional realice dicha prescripción o indicación en su horario laboral y al interior del establecimiento de salud.</a:t>
          </a:r>
          <a:endParaRPr lang="es-CL" sz="1400" dirty="0"/>
        </a:p>
      </dgm:t>
    </dgm:pt>
    <dgm:pt modelId="{404D4C85-9A06-47C9-AED7-B399323E450F}" type="parTrans" cxnId="{CB5CF376-B6F5-403C-906C-83A09529195D}">
      <dgm:prSet/>
      <dgm:spPr/>
      <dgm:t>
        <a:bodyPr/>
        <a:lstStyle/>
        <a:p>
          <a:endParaRPr lang="es-CL"/>
        </a:p>
      </dgm:t>
    </dgm:pt>
    <dgm:pt modelId="{3337340B-26F2-49FB-BDE4-8918C36E72AB}" type="sibTrans" cxnId="{CB5CF376-B6F5-403C-906C-83A09529195D}">
      <dgm:prSet/>
      <dgm:spPr/>
      <dgm:t>
        <a:bodyPr/>
        <a:lstStyle/>
        <a:p>
          <a:endParaRPr lang="es-CL"/>
        </a:p>
      </dgm:t>
    </dgm:pt>
    <dgm:pt modelId="{59F38016-1083-4870-B1ED-DA802C54D589}">
      <dgm:prSet custT="1"/>
      <dgm:spPr/>
      <dgm:t>
        <a:bodyPr/>
        <a:lstStyle/>
        <a:p>
          <a:pPr>
            <a:buFont typeface="+mj-lt"/>
            <a:buAutoNum type="alphaLcParenR"/>
          </a:pPr>
          <a:r>
            <a:rPr lang="es-MX" sz="1400" dirty="0"/>
            <a:t> Que la o el profesional cuente con certificación de competencias para prescribir productos farmacéuticos e indicar dispositivos de uso médico, ayudas técnicas y alimentos de uso médico en el ámbito de aplicación definido según sus competencias.</a:t>
          </a:r>
          <a:endParaRPr lang="es-CL" sz="1400" dirty="0"/>
        </a:p>
      </dgm:t>
    </dgm:pt>
    <dgm:pt modelId="{BEFC2F8F-8E97-4149-B5C8-88B288C3C88C}" type="parTrans" cxnId="{AFD78888-63CA-47C9-B65D-9E1D4860B195}">
      <dgm:prSet/>
      <dgm:spPr/>
      <dgm:t>
        <a:bodyPr/>
        <a:lstStyle/>
        <a:p>
          <a:endParaRPr lang="es-CL"/>
        </a:p>
      </dgm:t>
    </dgm:pt>
    <dgm:pt modelId="{DAABAD6E-1B80-4823-BFFC-54137F6A9A2C}" type="sibTrans" cxnId="{AFD78888-63CA-47C9-B65D-9E1D4860B195}">
      <dgm:prSet/>
      <dgm:spPr/>
      <dgm:t>
        <a:bodyPr/>
        <a:lstStyle/>
        <a:p>
          <a:endParaRPr lang="es-CL"/>
        </a:p>
      </dgm:t>
    </dgm:pt>
    <dgm:pt modelId="{194A86F0-A535-4568-A3F7-DA060FA7AE85}">
      <dgm:prSet custT="1"/>
      <dgm:spPr/>
      <dgm:t>
        <a:bodyPr/>
        <a:lstStyle/>
        <a:p>
          <a:pPr>
            <a:buFont typeface="+mj-lt"/>
            <a:buAutoNum type="alphaLcParenR"/>
          </a:pPr>
          <a:r>
            <a:rPr lang="es-MX" sz="1400" dirty="0"/>
            <a:t> Que la o el profesional cumpla con los demás requisitos que establezca un reglamento expedido por el Ministerio de Salud. </a:t>
          </a:r>
          <a:endParaRPr lang="es-CL" sz="1400" dirty="0"/>
        </a:p>
      </dgm:t>
    </dgm:pt>
    <dgm:pt modelId="{616F548D-438F-4E64-AD44-75C265D301A0}" type="parTrans" cxnId="{7CC36383-F809-4480-8767-49729B6A36D6}">
      <dgm:prSet/>
      <dgm:spPr/>
      <dgm:t>
        <a:bodyPr/>
        <a:lstStyle/>
        <a:p>
          <a:endParaRPr lang="es-CL"/>
        </a:p>
      </dgm:t>
    </dgm:pt>
    <dgm:pt modelId="{4BFB58AA-3865-491B-8F20-5168810994B2}" type="sibTrans" cxnId="{7CC36383-F809-4480-8767-49729B6A36D6}">
      <dgm:prSet/>
      <dgm:spPr/>
      <dgm:t>
        <a:bodyPr/>
        <a:lstStyle/>
        <a:p>
          <a:endParaRPr lang="es-CL"/>
        </a:p>
      </dgm:t>
    </dgm:pt>
    <dgm:pt modelId="{95C38F0E-DACE-4474-A46B-5B2718020A68}">
      <dgm:prSet custT="1"/>
      <dgm:spPr/>
      <dgm:t>
        <a:bodyPr/>
        <a:lstStyle/>
        <a:p>
          <a:pPr>
            <a:buFont typeface="+mj-lt"/>
            <a:buAutoNum type="alphaLcParenR"/>
          </a:pPr>
          <a:r>
            <a:rPr lang="es-MX" sz="1400" dirty="0"/>
            <a:t> Que el establecimiento de salud respectivo cumpla las condiciones necesarias para que exista la prescripción suplementaria en sus dependencias.</a:t>
          </a:r>
          <a:endParaRPr lang="es-CL" sz="1400" dirty="0"/>
        </a:p>
      </dgm:t>
    </dgm:pt>
    <dgm:pt modelId="{06ECC603-8D16-4518-B2C1-BEC9B7E67D7E}" type="parTrans" cxnId="{4B7F65D2-BEBB-431F-A8E7-00087EA20388}">
      <dgm:prSet/>
      <dgm:spPr/>
      <dgm:t>
        <a:bodyPr/>
        <a:lstStyle/>
        <a:p>
          <a:endParaRPr lang="es-CL"/>
        </a:p>
      </dgm:t>
    </dgm:pt>
    <dgm:pt modelId="{E06C2D28-A28D-426A-B850-3589222876E3}" type="sibTrans" cxnId="{4B7F65D2-BEBB-431F-A8E7-00087EA20388}">
      <dgm:prSet/>
      <dgm:spPr/>
      <dgm:t>
        <a:bodyPr/>
        <a:lstStyle/>
        <a:p>
          <a:endParaRPr lang="es-CL"/>
        </a:p>
      </dgm:t>
    </dgm:pt>
    <dgm:pt modelId="{C766ED65-5C89-447D-8278-571602DD6BA2}">
      <dgm:prSet custT="1"/>
      <dgm:spPr/>
      <dgm:t>
        <a:bodyPr/>
        <a:lstStyle/>
        <a:p>
          <a:pPr>
            <a:buFont typeface="+mj-lt"/>
            <a:buAutoNum type="alphaLcParenR"/>
          </a:pPr>
          <a:r>
            <a:rPr lang="es-MX" sz="1400" dirty="0"/>
            <a:t> Que la o el profesional únicamente utilice para la prescripción o indicación el o los medios formales del establecimiento en que se desempeña, tales como, receta u orden según corresponda con el membrete del establecimiento respectivo, o receta u orden electrónica.</a:t>
          </a:r>
          <a:endParaRPr lang="es-CL" sz="1400" dirty="0"/>
        </a:p>
      </dgm:t>
    </dgm:pt>
    <dgm:pt modelId="{99753DD2-088D-4BA6-8F87-445C5201A96D}" type="parTrans" cxnId="{5D37F4E7-DE85-4E0F-A557-DB5068CFAAFB}">
      <dgm:prSet/>
      <dgm:spPr/>
      <dgm:t>
        <a:bodyPr/>
        <a:lstStyle/>
        <a:p>
          <a:endParaRPr lang="es-CL"/>
        </a:p>
      </dgm:t>
    </dgm:pt>
    <dgm:pt modelId="{3A38B0AD-90E6-4CE2-B7FD-9868ABFDF1EA}" type="sibTrans" cxnId="{5D37F4E7-DE85-4E0F-A557-DB5068CFAAFB}">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1" custScaleX="72670" custScaleY="100098"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1" custScaleX="137042" custScaleY="108722">
        <dgm:presLayoutVars>
          <dgm:bulletEnabled val="1"/>
        </dgm:presLayoutVars>
      </dgm:prSet>
      <dgm:spPr/>
    </dgm:pt>
  </dgm:ptLst>
  <dgm:cxnLst>
    <dgm:cxn modelId="{59856619-26CF-4B76-8680-63162A99CC1E}" srcId="{2A814265-7A8F-4FA4-9DF2-D9AA5FC14D4A}" destId="{5D1494DF-373C-4468-A49A-514319604E80}" srcOrd="0" destOrd="0" parTransId="{01A40260-E3FB-40EE-96FD-BA1B75812747}" sibTransId="{517F4B9A-59FA-489D-B8E5-338D6F15EAC2}"/>
    <dgm:cxn modelId="{35C52F1C-8321-4249-829E-7095B0D3475C}" type="presOf" srcId="{89DC7E20-CAF2-40CA-9C07-0446E61AABAF}" destId="{A73AE5F6-B281-4E3F-AC46-5B962412DE97}" srcOrd="0" destOrd="2" presId="urn:microsoft.com/office/officeart/2005/8/layout/vList5"/>
    <dgm:cxn modelId="{2949D61E-C6C6-4C73-900C-D2B76691156E}" type="presOf" srcId="{59F38016-1083-4870-B1ED-DA802C54D589}" destId="{A73AE5F6-B281-4E3F-AC46-5B962412DE97}" srcOrd="0" destOrd="6" presId="urn:microsoft.com/office/officeart/2005/8/layout/vList5"/>
    <dgm:cxn modelId="{18B57B5F-3F08-4CAE-A302-F17EEB5BD344}" type="presOf" srcId="{CF472794-7462-40A7-804A-DC2C53A2F3CC}" destId="{A73AE5F6-B281-4E3F-AC46-5B962412DE97}" srcOrd="0" destOrd="4" presId="urn:microsoft.com/office/officeart/2005/8/layout/vList5"/>
    <dgm:cxn modelId="{F1CC474F-9D06-4C5F-B74E-FC74D6F054C1}" srcId="{5D1494DF-373C-4468-A49A-514319604E80}" destId="{89DC7E20-CAF2-40CA-9C07-0446E61AABAF}" srcOrd="2" destOrd="0" parTransId="{715B53DF-CDF8-45E0-BCEE-800D62BBBB7B}" sibTransId="{C5D110B7-0A74-4E35-BA72-715BFD4124C2}"/>
    <dgm:cxn modelId="{C5250570-8C81-4306-AB6A-15308FC49D92}" type="presOf" srcId="{32906DF0-BDB0-47FB-8387-1513ACCE3B02}" destId="{A73AE5F6-B281-4E3F-AC46-5B962412DE97}" srcOrd="0" destOrd="1" presId="urn:microsoft.com/office/officeart/2005/8/layout/vList5"/>
    <dgm:cxn modelId="{A6641550-0E92-4967-BD3B-0574A904B62E}" srcId="{5D1494DF-373C-4468-A49A-514319604E80}" destId="{86D08550-AF08-43E7-BE27-D4C382BB8C44}" srcOrd="3" destOrd="0" parTransId="{1D86D914-96D5-4CCE-BA94-CD3C6DC58E33}" sibTransId="{D4E28D7F-CF01-467E-84B6-22F7462F87AD}"/>
    <dgm:cxn modelId="{C19CDA50-0D6D-463A-9722-F62EA7C1D1C3}" type="presOf" srcId="{5D1494DF-373C-4468-A49A-514319604E80}" destId="{2621620F-01FC-4819-A3A0-A1170814BB4E}" srcOrd="0" destOrd="0" presId="urn:microsoft.com/office/officeart/2005/8/layout/vList5"/>
    <dgm:cxn modelId="{D4694175-DF85-47FA-BDE2-EB945BEFCF8A}" type="presOf" srcId="{2A814265-7A8F-4FA4-9DF2-D9AA5FC14D4A}" destId="{1CCB2482-2DBB-41BD-86F0-5B9520FC0C0C}" srcOrd="0" destOrd="0" presId="urn:microsoft.com/office/officeart/2005/8/layout/vList5"/>
    <dgm:cxn modelId="{CB5CF376-B6F5-403C-906C-83A09529195D}" srcId="{5D1494DF-373C-4468-A49A-514319604E80}" destId="{CF472794-7462-40A7-804A-DC2C53A2F3CC}" srcOrd="4" destOrd="0" parTransId="{404D4C85-9A06-47C9-AED7-B399323E450F}" sibTransId="{3337340B-26F2-49FB-BDE4-8918C36E72AB}"/>
    <dgm:cxn modelId="{7CC36383-F809-4480-8767-49729B6A36D6}" srcId="{5D1494DF-373C-4468-A49A-514319604E80}" destId="{194A86F0-A535-4568-A3F7-DA060FA7AE85}" srcOrd="7" destOrd="0" parTransId="{616F548D-438F-4E64-AD44-75C265D301A0}" sibTransId="{4BFB58AA-3865-491B-8F20-5168810994B2}"/>
    <dgm:cxn modelId="{AFD78888-63CA-47C9-B65D-9E1D4860B195}" srcId="{5D1494DF-373C-4468-A49A-514319604E80}" destId="{59F38016-1083-4870-B1ED-DA802C54D589}" srcOrd="6" destOrd="0" parTransId="{BEFC2F8F-8E97-4149-B5C8-88B288C3C88C}" sibTransId="{DAABAD6E-1B80-4823-BFFC-54137F6A9A2C}"/>
    <dgm:cxn modelId="{037651A7-9710-4AE7-A356-02ABD61DE482}" srcId="{5D1494DF-373C-4468-A49A-514319604E80}" destId="{505ADBA4-E900-4EBB-BEB6-974CFDDC29D3}" srcOrd="0" destOrd="0" parTransId="{4FCF47E0-CF4A-4001-8F26-6D35C44CEB4D}" sibTransId="{B194F090-B0D9-4F40-BBEA-D175BA892108}"/>
    <dgm:cxn modelId="{B2FC14AC-EF52-4E12-9835-B60FE67093E0}" type="presOf" srcId="{194A86F0-A535-4568-A3F7-DA060FA7AE85}" destId="{A73AE5F6-B281-4E3F-AC46-5B962412DE97}" srcOrd="0" destOrd="7" presId="urn:microsoft.com/office/officeart/2005/8/layout/vList5"/>
    <dgm:cxn modelId="{37BEDDB4-4634-45D9-B8BA-1D387E6D0E1A}" srcId="{5D1494DF-373C-4468-A49A-514319604E80}" destId="{32906DF0-BDB0-47FB-8387-1513ACCE3B02}" srcOrd="1" destOrd="0" parTransId="{E3911A47-0A53-4604-83BE-574326B27303}" sibTransId="{C6092E60-3024-413A-8658-FCD750DE4AE6}"/>
    <dgm:cxn modelId="{A75B06CE-91EB-4765-B157-18BA4F3A5BA3}" type="presOf" srcId="{505ADBA4-E900-4EBB-BEB6-974CFDDC29D3}" destId="{A73AE5F6-B281-4E3F-AC46-5B962412DE97}" srcOrd="0" destOrd="0" presId="urn:microsoft.com/office/officeart/2005/8/layout/vList5"/>
    <dgm:cxn modelId="{4B7F65D2-BEBB-431F-A8E7-00087EA20388}" srcId="{5D1494DF-373C-4468-A49A-514319604E80}" destId="{95C38F0E-DACE-4474-A46B-5B2718020A68}" srcOrd="8" destOrd="0" parTransId="{06ECC603-8D16-4518-B2C1-BEC9B7E67D7E}" sibTransId="{E06C2D28-A28D-426A-B850-3589222876E3}"/>
    <dgm:cxn modelId="{DE2F45D8-71F0-40E2-A688-5E6538364C75}" type="presOf" srcId="{95C38F0E-DACE-4474-A46B-5B2718020A68}" destId="{A73AE5F6-B281-4E3F-AC46-5B962412DE97}" srcOrd="0" destOrd="8" presId="urn:microsoft.com/office/officeart/2005/8/layout/vList5"/>
    <dgm:cxn modelId="{2B73EEDF-5D43-48F3-9D82-6CB265BDFE7C}" type="presOf" srcId="{86D08550-AF08-43E7-BE27-D4C382BB8C44}" destId="{A73AE5F6-B281-4E3F-AC46-5B962412DE97}" srcOrd="0" destOrd="3" presId="urn:microsoft.com/office/officeart/2005/8/layout/vList5"/>
    <dgm:cxn modelId="{5D37F4E7-DE85-4E0F-A557-DB5068CFAAFB}" srcId="{5D1494DF-373C-4468-A49A-514319604E80}" destId="{C766ED65-5C89-447D-8278-571602DD6BA2}" srcOrd="5" destOrd="0" parTransId="{99753DD2-088D-4BA6-8F87-445C5201A96D}" sibTransId="{3A38B0AD-90E6-4CE2-B7FD-9868ABFDF1EA}"/>
    <dgm:cxn modelId="{598C81EC-D612-4941-8888-E5AD180C2E85}" type="presOf" srcId="{C766ED65-5C89-447D-8278-571602DD6BA2}" destId="{A73AE5F6-B281-4E3F-AC46-5B962412DE97}" srcOrd="0" destOrd="5" presId="urn:microsoft.com/office/officeart/2005/8/layout/vList5"/>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Prescripción de productos farmacéuticos e Indicación de dispositivos médicos, ayudas técnicas y alimentos de uso médico</a:t>
          </a:r>
        </a:p>
        <a:p>
          <a:r>
            <a:rPr lang="es-MX" sz="2000" dirty="0"/>
            <a:t>(Parte 3)</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400" dirty="0"/>
            <a:t>Un reglamento dictado por el Ministerio de Salud deberá establecer, al menos, los requisitos para la obtención de la certificación de competencias para efectuar prescripciones o indicaciones suplementarias, los cuales deberán exigir al menos experiencia clínica y formación, protocolos que señalen la forma en que se efectuará la prescripción o indicación suplementaria, los productos sanitarios que cada profesional de la salud podrá prescribir o indicar estando relacionados con sus respectivas áreas de desempeño, y las condiciones que debe disponer el establecimiento de salud para que exista la prescripción suplementaria en sus dependencias.</a:t>
          </a:r>
          <a:endParaRPr lang="es-CL" sz="14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2EC9FD14-2618-4CCE-A783-E7AFCC34298E}">
      <dgm:prSet custT="1"/>
      <dgm:spPr/>
      <dgm:t>
        <a:bodyPr/>
        <a:lstStyle/>
        <a:p>
          <a:endParaRPr lang="es-CL" sz="1400" dirty="0"/>
        </a:p>
      </dgm:t>
    </dgm:pt>
    <dgm:pt modelId="{DA0EE57E-B8D2-4F3F-A7B0-AC833EF6FCD4}" type="parTrans" cxnId="{1E7650CF-2ACF-459B-A1F1-6AA0283223EC}">
      <dgm:prSet/>
      <dgm:spPr/>
      <dgm:t>
        <a:bodyPr/>
        <a:lstStyle/>
        <a:p>
          <a:endParaRPr lang="es-CL"/>
        </a:p>
      </dgm:t>
    </dgm:pt>
    <dgm:pt modelId="{D9A5E027-88AC-4AE0-8BC0-BA0A4FC0D748}" type="sibTrans" cxnId="{1E7650CF-2ACF-459B-A1F1-6AA0283223EC}">
      <dgm:prSet/>
      <dgm:spPr/>
      <dgm:t>
        <a:bodyPr/>
        <a:lstStyle/>
        <a:p>
          <a:endParaRPr lang="es-CL"/>
        </a:p>
      </dgm:t>
    </dgm:pt>
    <dgm:pt modelId="{D45D7982-D106-46C9-88A4-ED0B41DCD7E5}">
      <dgm:prSet custT="1"/>
      <dgm:spPr/>
      <dgm:t>
        <a:bodyPr/>
        <a:lstStyle/>
        <a:p>
          <a:r>
            <a:rPr lang="es-MX" sz="1400" dirty="0"/>
            <a:t>Queda expresamente prohibido a las y los prescriptores suplementarios la prescripción de medicamentos psicotrópicos y estupefacientes, la indicación de dispositivos médicos invasivos de tipo quirúrgicos, y todo producto sanitario que no sea incluido en el reglamento a que se hace referencia en el inciso anterior. Asimismo, se prohíbe prescribir o indicar en el ejercicio autónomo de la profesión.</a:t>
          </a:r>
          <a:endParaRPr lang="es-CL" sz="1400" dirty="0"/>
        </a:p>
      </dgm:t>
    </dgm:pt>
    <dgm:pt modelId="{567E79F8-9D0F-4AA2-85E5-760B4DCE4923}" type="parTrans" cxnId="{D840C31C-6307-455A-A6A6-919926B8FA7B}">
      <dgm:prSet/>
      <dgm:spPr/>
      <dgm:t>
        <a:bodyPr/>
        <a:lstStyle/>
        <a:p>
          <a:endParaRPr lang="es-CL"/>
        </a:p>
      </dgm:t>
    </dgm:pt>
    <dgm:pt modelId="{4766FB87-A418-4EAE-B2BB-2C4B1CB7CF5E}" type="sibTrans" cxnId="{D840C31C-6307-455A-A6A6-919926B8FA7B}">
      <dgm:prSet/>
      <dgm:spPr/>
      <dgm:t>
        <a:bodyPr/>
        <a:lstStyle/>
        <a:p>
          <a:endParaRPr lang="es-CL"/>
        </a:p>
      </dgm:t>
    </dgm:pt>
    <dgm:pt modelId="{0598BA6D-D122-4D9D-943F-DFE048FF1092}">
      <dgm:prSet custT="1"/>
      <dgm:spPr/>
      <dgm:t>
        <a:bodyPr/>
        <a:lstStyle/>
        <a:p>
          <a:endParaRPr lang="es-CL" sz="1400" dirty="0"/>
        </a:p>
      </dgm:t>
    </dgm:pt>
    <dgm:pt modelId="{40F820A1-F24C-4543-92D0-0C0A1D5C88CD}" type="parTrans" cxnId="{2BB02C73-E5E6-42FB-8DCD-D8D4B7E9E2A9}">
      <dgm:prSet/>
      <dgm:spPr/>
      <dgm:t>
        <a:bodyPr/>
        <a:lstStyle/>
        <a:p>
          <a:endParaRPr lang="es-CL"/>
        </a:p>
      </dgm:t>
    </dgm:pt>
    <dgm:pt modelId="{64741E29-BA7E-4E91-8335-AC88D16B4313}" type="sibTrans" cxnId="{2BB02C73-E5E6-42FB-8DCD-D8D4B7E9E2A9}">
      <dgm:prSet/>
      <dgm:spPr/>
      <dgm:t>
        <a:bodyPr/>
        <a:lstStyle/>
        <a:p>
          <a:endParaRPr lang="es-CL"/>
        </a:p>
      </dgm:t>
    </dgm:pt>
    <dgm:pt modelId="{4CE17486-C842-47DD-B41F-6273392DACE1}">
      <dgm:prSet custT="1"/>
      <dgm:spPr/>
      <dgm:t>
        <a:bodyPr/>
        <a:lstStyle/>
        <a:p>
          <a:r>
            <a:rPr lang="es-MX" sz="1400" dirty="0"/>
            <a:t>El uso indebido de la prescripción suplementaria a la que se refiere este artículo implicará la suspensión inmediata de esta facultad. De la misma manera, dicha situación conllevará la instrucción de un sumario sanitario, de acuerdo con lo establecido en el Libro X de este Código, el que podrá aplicar como sanción adicional, la inhabilitación hasta por cinco años para este tipo de prescripción.</a:t>
          </a:r>
          <a:endParaRPr lang="es-CL" sz="1400" dirty="0"/>
        </a:p>
      </dgm:t>
    </dgm:pt>
    <dgm:pt modelId="{90646401-FF24-4553-AC6B-5171E7D7F48C}" type="parTrans" cxnId="{25933DD1-0870-4469-89F1-6C42FE656642}">
      <dgm:prSet/>
      <dgm:spPr/>
      <dgm:t>
        <a:bodyPr/>
        <a:lstStyle/>
        <a:p>
          <a:endParaRPr lang="es-CL"/>
        </a:p>
      </dgm:t>
    </dgm:pt>
    <dgm:pt modelId="{2BD98276-6B8A-4608-995B-8539E5AF0914}" type="sibTrans" cxnId="{25933DD1-0870-4469-89F1-6C42FE656642}">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1" custScaleX="72670" custScaleY="100098"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1" custScaleX="137042" custScaleY="118037">
        <dgm:presLayoutVars>
          <dgm:bulletEnabled val="1"/>
        </dgm:presLayoutVars>
      </dgm:prSet>
      <dgm:spPr/>
    </dgm:pt>
  </dgm:ptLst>
  <dgm:cxnLst>
    <dgm:cxn modelId="{59856619-26CF-4B76-8680-63162A99CC1E}" srcId="{2A814265-7A8F-4FA4-9DF2-D9AA5FC14D4A}" destId="{5D1494DF-373C-4468-A49A-514319604E80}" srcOrd="0" destOrd="0" parTransId="{01A40260-E3FB-40EE-96FD-BA1B75812747}" sibTransId="{517F4B9A-59FA-489D-B8E5-338D6F15EAC2}"/>
    <dgm:cxn modelId="{D840C31C-6307-455A-A6A6-919926B8FA7B}" srcId="{5D1494DF-373C-4468-A49A-514319604E80}" destId="{D45D7982-D106-46C9-88A4-ED0B41DCD7E5}" srcOrd="2" destOrd="0" parTransId="{567E79F8-9D0F-4AA2-85E5-760B4DCE4923}" sibTransId="{4766FB87-A418-4EAE-B2BB-2C4B1CB7CF5E}"/>
    <dgm:cxn modelId="{B19CFC2C-D7A2-40AC-A5EC-497C85E8BDBB}" type="presOf" srcId="{D45D7982-D106-46C9-88A4-ED0B41DCD7E5}" destId="{A73AE5F6-B281-4E3F-AC46-5B962412DE97}" srcOrd="0" destOrd="2" presId="urn:microsoft.com/office/officeart/2005/8/layout/vList5"/>
    <dgm:cxn modelId="{0E633C4C-B828-4058-9103-978A220A4C6C}" type="presOf" srcId="{4CE17486-C842-47DD-B41F-6273392DACE1}" destId="{A73AE5F6-B281-4E3F-AC46-5B962412DE97}" srcOrd="0" destOrd="4" presId="urn:microsoft.com/office/officeart/2005/8/layout/vList5"/>
    <dgm:cxn modelId="{C19CDA50-0D6D-463A-9722-F62EA7C1D1C3}" type="presOf" srcId="{5D1494DF-373C-4468-A49A-514319604E80}" destId="{2621620F-01FC-4819-A3A0-A1170814BB4E}" srcOrd="0" destOrd="0" presId="urn:microsoft.com/office/officeart/2005/8/layout/vList5"/>
    <dgm:cxn modelId="{2BB02C73-E5E6-42FB-8DCD-D8D4B7E9E2A9}" srcId="{5D1494DF-373C-4468-A49A-514319604E80}" destId="{0598BA6D-D122-4D9D-943F-DFE048FF1092}" srcOrd="3" destOrd="0" parTransId="{40F820A1-F24C-4543-92D0-0C0A1D5C88CD}" sibTransId="{64741E29-BA7E-4E91-8335-AC88D16B4313}"/>
    <dgm:cxn modelId="{D4694175-DF85-47FA-BDE2-EB945BEFCF8A}" type="presOf" srcId="{2A814265-7A8F-4FA4-9DF2-D9AA5FC14D4A}" destId="{1CCB2482-2DBB-41BD-86F0-5B9520FC0C0C}" srcOrd="0" destOrd="0" presId="urn:microsoft.com/office/officeart/2005/8/layout/vList5"/>
    <dgm:cxn modelId="{01B7668A-ED1B-4C32-B9DE-305C7430B9AD}" type="presOf" srcId="{0598BA6D-D122-4D9D-943F-DFE048FF1092}" destId="{A73AE5F6-B281-4E3F-AC46-5B962412DE97}" srcOrd="0" destOrd="3" presId="urn:microsoft.com/office/officeart/2005/8/layout/vList5"/>
    <dgm:cxn modelId="{037651A7-9710-4AE7-A356-02ABD61DE482}" srcId="{5D1494DF-373C-4468-A49A-514319604E80}" destId="{505ADBA4-E900-4EBB-BEB6-974CFDDC29D3}" srcOrd="0" destOrd="0" parTransId="{4FCF47E0-CF4A-4001-8F26-6D35C44CEB4D}" sibTransId="{B194F090-B0D9-4F40-BBEA-D175BA892108}"/>
    <dgm:cxn modelId="{00458EC0-8883-43D3-86B5-DC1D3AEC41A2}" type="presOf" srcId="{2EC9FD14-2618-4CCE-A783-E7AFCC34298E}" destId="{A73AE5F6-B281-4E3F-AC46-5B962412DE97}" srcOrd="0" destOrd="1" presId="urn:microsoft.com/office/officeart/2005/8/layout/vList5"/>
    <dgm:cxn modelId="{A75B06CE-91EB-4765-B157-18BA4F3A5BA3}" type="presOf" srcId="{505ADBA4-E900-4EBB-BEB6-974CFDDC29D3}" destId="{A73AE5F6-B281-4E3F-AC46-5B962412DE97}" srcOrd="0" destOrd="0" presId="urn:microsoft.com/office/officeart/2005/8/layout/vList5"/>
    <dgm:cxn modelId="{1E7650CF-2ACF-459B-A1F1-6AA0283223EC}" srcId="{5D1494DF-373C-4468-A49A-514319604E80}" destId="{2EC9FD14-2618-4CCE-A783-E7AFCC34298E}" srcOrd="1" destOrd="0" parTransId="{DA0EE57E-B8D2-4F3F-A7B0-AC833EF6FCD4}" sibTransId="{D9A5E027-88AC-4AE0-8BC0-BA0A4FC0D748}"/>
    <dgm:cxn modelId="{25933DD1-0870-4469-89F1-6C42FE656642}" srcId="{5D1494DF-373C-4468-A49A-514319604E80}" destId="{4CE17486-C842-47DD-B41F-6273392DACE1}" srcOrd="4" destOrd="0" parTransId="{90646401-FF24-4553-AC6B-5171E7D7F48C}" sibTransId="{2BD98276-6B8A-4608-995B-8539E5AF0914}"/>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A814265-7A8F-4FA4-9DF2-D9AA5FC14D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s-CL"/>
        </a:p>
      </dgm:t>
    </dgm:pt>
    <dgm:pt modelId="{5D1494DF-373C-4468-A49A-514319604E80}">
      <dgm:prSet phldrT="[Texto]" custT="1"/>
      <dgm:spPr/>
      <dgm:t>
        <a:bodyPr/>
        <a:lstStyle/>
        <a:p>
          <a:r>
            <a:rPr lang="es-MX" sz="2000" dirty="0"/>
            <a:t>Examen Nacional</a:t>
          </a:r>
          <a:endParaRPr lang="es-CL" sz="2000" dirty="0"/>
        </a:p>
      </dgm:t>
    </dgm:pt>
    <dgm:pt modelId="{01A40260-E3FB-40EE-96FD-BA1B75812747}" type="parTrans" cxnId="{59856619-26CF-4B76-8680-63162A99CC1E}">
      <dgm:prSet/>
      <dgm:spPr/>
      <dgm:t>
        <a:bodyPr/>
        <a:lstStyle/>
        <a:p>
          <a:endParaRPr lang="es-CL" sz="1800"/>
        </a:p>
      </dgm:t>
    </dgm:pt>
    <dgm:pt modelId="{517F4B9A-59FA-489D-B8E5-338D6F15EAC2}" type="sibTrans" cxnId="{59856619-26CF-4B76-8680-63162A99CC1E}">
      <dgm:prSet/>
      <dgm:spPr/>
      <dgm:t>
        <a:bodyPr/>
        <a:lstStyle/>
        <a:p>
          <a:endParaRPr lang="es-CL" sz="1800"/>
        </a:p>
      </dgm:t>
    </dgm:pt>
    <dgm:pt modelId="{505ADBA4-E900-4EBB-BEB6-974CFDDC29D3}">
      <dgm:prSet phldrT="[Texto]" custT="1"/>
      <dgm:spPr/>
      <dgm:t>
        <a:bodyPr/>
        <a:lstStyle/>
        <a:p>
          <a:r>
            <a:rPr lang="es-MX" sz="1400" dirty="0"/>
            <a:t>La autoridad sanitaria establecerá un Examen Único Nacional de Conocimientos de salud por cada tipo de profesional integrante del equipo de atención de salud mencionado en este Libro.</a:t>
          </a:r>
          <a:endParaRPr lang="es-CL" sz="1400" dirty="0"/>
        </a:p>
      </dgm:t>
    </dgm:pt>
    <dgm:pt modelId="{4FCF47E0-CF4A-4001-8F26-6D35C44CEB4D}" type="parTrans" cxnId="{037651A7-9710-4AE7-A356-02ABD61DE482}">
      <dgm:prSet/>
      <dgm:spPr/>
      <dgm:t>
        <a:bodyPr/>
        <a:lstStyle/>
        <a:p>
          <a:endParaRPr lang="es-CL" sz="1800"/>
        </a:p>
      </dgm:t>
    </dgm:pt>
    <dgm:pt modelId="{B194F090-B0D9-4F40-BBEA-D175BA892108}" type="sibTrans" cxnId="{037651A7-9710-4AE7-A356-02ABD61DE482}">
      <dgm:prSet/>
      <dgm:spPr/>
      <dgm:t>
        <a:bodyPr/>
        <a:lstStyle/>
        <a:p>
          <a:endParaRPr lang="es-CL" sz="1800"/>
        </a:p>
      </dgm:t>
    </dgm:pt>
    <dgm:pt modelId="{D8FA1250-01FF-4A02-80EC-74BF4E7284BF}">
      <dgm:prSet/>
      <dgm:spPr/>
      <dgm:t>
        <a:bodyPr/>
        <a:lstStyle/>
        <a:p>
          <a:r>
            <a:rPr lang="es-MX" dirty="0"/>
            <a:t>Especialidades</a:t>
          </a:r>
          <a:endParaRPr lang="es-CL" dirty="0"/>
        </a:p>
      </dgm:t>
    </dgm:pt>
    <dgm:pt modelId="{CFC4CF03-1C1C-45D6-9EB6-F3EAF4A33586}" type="parTrans" cxnId="{163A008A-7BCA-44ED-853C-93D88129843A}">
      <dgm:prSet/>
      <dgm:spPr/>
      <dgm:t>
        <a:bodyPr/>
        <a:lstStyle/>
        <a:p>
          <a:endParaRPr lang="es-CL"/>
        </a:p>
      </dgm:t>
    </dgm:pt>
    <dgm:pt modelId="{8E4574A8-4E0E-4DD5-A7C8-E2C49E0E3CBE}" type="sibTrans" cxnId="{163A008A-7BCA-44ED-853C-93D88129843A}">
      <dgm:prSet/>
      <dgm:spPr/>
      <dgm:t>
        <a:bodyPr/>
        <a:lstStyle/>
        <a:p>
          <a:endParaRPr lang="es-CL"/>
        </a:p>
      </dgm:t>
    </dgm:pt>
    <dgm:pt modelId="{EEF9F5BE-3A54-458E-9103-CDBA3CEA560C}">
      <dgm:prSet custT="1"/>
      <dgm:spPr/>
      <dgm:t>
        <a:bodyPr/>
        <a:lstStyle/>
        <a:p>
          <a:r>
            <a:rPr lang="es-MX" sz="1400" kern="1200" dirty="0">
              <a:solidFill>
                <a:srgbClr val="000000">
                  <a:hueOff val="0"/>
                  <a:satOff val="0"/>
                  <a:lumOff val="0"/>
                  <a:alphaOff val="0"/>
                </a:srgbClr>
              </a:solidFill>
              <a:latin typeface="Arial"/>
              <a:ea typeface="+mn-ea"/>
              <a:cs typeface="+mn-cs"/>
            </a:rPr>
            <a:t>La autoridad sanitaria podrá establecer un sistema de certificación de especialidades y subespecialidades de los prestadores individuales de salud legalmente habilitados para ejercer sus respectivas profesiones, de acuerdo con las funciones definidas en el decreto con fuerza de ley </a:t>
          </a:r>
          <a:r>
            <a:rPr lang="es-MX" sz="1400" kern="1200" dirty="0" err="1">
              <a:solidFill>
                <a:srgbClr val="000000">
                  <a:hueOff val="0"/>
                  <a:satOff val="0"/>
                  <a:lumOff val="0"/>
                  <a:alphaOff val="0"/>
                </a:srgbClr>
              </a:solidFill>
              <a:latin typeface="Arial"/>
              <a:ea typeface="+mn-ea"/>
              <a:cs typeface="+mn-cs"/>
            </a:rPr>
            <a:t>N°</a:t>
          </a:r>
          <a:r>
            <a:rPr lang="es-MX" sz="1400" kern="1200" dirty="0">
              <a:solidFill>
                <a:srgbClr val="000000">
                  <a:hueOff val="0"/>
                  <a:satOff val="0"/>
                  <a:lumOff val="0"/>
                  <a:alphaOff val="0"/>
                </a:srgbClr>
              </a:solidFill>
              <a:latin typeface="Arial"/>
              <a:ea typeface="+mn-ea"/>
              <a:cs typeface="+mn-cs"/>
            </a:rPr>
            <a:t> 1, de 2005, del Ministerio de Salud.</a:t>
          </a:r>
          <a:endParaRPr lang="es-CL" sz="1400" kern="1200" dirty="0">
            <a:solidFill>
              <a:srgbClr val="000000">
                <a:hueOff val="0"/>
                <a:satOff val="0"/>
                <a:lumOff val="0"/>
                <a:alphaOff val="0"/>
              </a:srgbClr>
            </a:solidFill>
            <a:latin typeface="Arial"/>
            <a:ea typeface="+mn-ea"/>
            <a:cs typeface="+mn-cs"/>
          </a:endParaRPr>
        </a:p>
      </dgm:t>
    </dgm:pt>
    <dgm:pt modelId="{3D145321-22AC-4831-9AC8-EBE93C1C7ED8}" type="parTrans" cxnId="{51AE6B76-95D9-494B-9278-253F55049307}">
      <dgm:prSet/>
      <dgm:spPr/>
      <dgm:t>
        <a:bodyPr/>
        <a:lstStyle/>
        <a:p>
          <a:endParaRPr lang="es-CL"/>
        </a:p>
      </dgm:t>
    </dgm:pt>
    <dgm:pt modelId="{807D8CCC-4358-4B03-8933-F3A1DD90ABB4}" type="sibTrans" cxnId="{51AE6B76-95D9-494B-9278-253F55049307}">
      <dgm:prSet/>
      <dgm:spPr/>
      <dgm:t>
        <a:bodyPr/>
        <a:lstStyle/>
        <a:p>
          <a:endParaRPr lang="es-CL"/>
        </a:p>
      </dgm:t>
    </dgm:pt>
    <dgm:pt modelId="{C1C7262F-09A8-4674-B93A-78CE8D300732}">
      <dgm:prSet custT="1"/>
      <dgm:spPr/>
      <dgm:t>
        <a:bodyPr/>
        <a:lstStyle/>
        <a:p>
          <a:endParaRPr lang="es-CL" sz="1400" dirty="0"/>
        </a:p>
      </dgm:t>
    </dgm:pt>
    <dgm:pt modelId="{EF568E99-CB69-4544-B9F3-282969D9039B}" type="parTrans" cxnId="{D7AF5373-4EA2-4489-898E-FD7EE0FCED1B}">
      <dgm:prSet/>
      <dgm:spPr/>
      <dgm:t>
        <a:bodyPr/>
        <a:lstStyle/>
        <a:p>
          <a:endParaRPr lang="es-CL"/>
        </a:p>
      </dgm:t>
    </dgm:pt>
    <dgm:pt modelId="{9FD3C7E7-A063-460D-A036-95F3F9BB6237}" type="sibTrans" cxnId="{D7AF5373-4EA2-4489-898E-FD7EE0FCED1B}">
      <dgm:prSet/>
      <dgm:spPr/>
      <dgm:t>
        <a:bodyPr/>
        <a:lstStyle/>
        <a:p>
          <a:endParaRPr lang="es-CL"/>
        </a:p>
      </dgm:t>
    </dgm:pt>
    <dgm:pt modelId="{110D72EC-20D6-46AB-97EB-D9D4D6C89EB4}">
      <dgm:prSet custT="1"/>
      <dgm:spPr/>
      <dgm:t>
        <a:bodyPr/>
        <a:lstStyle/>
        <a:p>
          <a:r>
            <a:rPr lang="es-MX" sz="1400" dirty="0"/>
            <a:t>Un reglamento, dictado por el Ministerio de Salud, establecerá los criterios generales del examen de conocimientos establecido en el presente artículo con el perfil profesional requerido para el cumplimiento de los objetivos de la política nacional de salud, así como también, aquellos que aseguren la objetividad, transparencia, igualdad y adecuada publicidad en su diseño y administración, y, en general toda otra materia relacionada con su exigencia, aplicación y evaluación. Asimismo, el reglamento determinará la puntuación mínima requerida ya sea a través de una nota, calificación, porcentaje, u otro factor análogo de medición, para efecto de lo dispuesto en este Libro, y, en general, contendrá toda otra norma necesaria para la adecuada y eficiente aplicación del presente artículo.</a:t>
          </a:r>
          <a:endParaRPr lang="es-CL" sz="1400" dirty="0"/>
        </a:p>
      </dgm:t>
    </dgm:pt>
    <dgm:pt modelId="{CE7A3C59-E1F5-4DE1-946A-A00DBC7DE547}" type="parTrans" cxnId="{3A9D69C0-9A42-4B87-A51A-FEEBE150ABA3}">
      <dgm:prSet/>
      <dgm:spPr/>
      <dgm:t>
        <a:bodyPr/>
        <a:lstStyle/>
        <a:p>
          <a:endParaRPr lang="es-CL"/>
        </a:p>
      </dgm:t>
    </dgm:pt>
    <dgm:pt modelId="{7CC7C6BC-A9D8-4E0A-83BC-2EDCC1FEC996}" type="sibTrans" cxnId="{3A9D69C0-9A42-4B87-A51A-FEEBE150ABA3}">
      <dgm:prSet/>
      <dgm:spPr/>
      <dgm:t>
        <a:bodyPr/>
        <a:lstStyle/>
        <a:p>
          <a:endParaRPr lang="es-CL"/>
        </a:p>
      </dgm:t>
    </dgm:pt>
    <dgm:pt modelId="{1CCB2482-2DBB-41BD-86F0-5B9520FC0C0C}" type="pres">
      <dgm:prSet presAssocID="{2A814265-7A8F-4FA4-9DF2-D9AA5FC14D4A}" presName="Name0" presStyleCnt="0">
        <dgm:presLayoutVars>
          <dgm:dir/>
          <dgm:animLvl val="lvl"/>
          <dgm:resizeHandles val="exact"/>
        </dgm:presLayoutVars>
      </dgm:prSet>
      <dgm:spPr/>
    </dgm:pt>
    <dgm:pt modelId="{9E60D0B6-F51D-4DAC-9EE9-BDE932CCB64F}" type="pres">
      <dgm:prSet presAssocID="{5D1494DF-373C-4468-A49A-514319604E80}" presName="linNode" presStyleCnt="0"/>
      <dgm:spPr/>
    </dgm:pt>
    <dgm:pt modelId="{2621620F-01FC-4819-A3A0-A1170814BB4E}" type="pres">
      <dgm:prSet presAssocID="{5D1494DF-373C-4468-A49A-514319604E80}" presName="parentText" presStyleLbl="node1" presStyleIdx="0" presStyleCnt="2" custScaleX="72670" custScaleY="116160" custLinFactNeighborX="-1566">
        <dgm:presLayoutVars>
          <dgm:chMax val="1"/>
          <dgm:bulletEnabled val="1"/>
        </dgm:presLayoutVars>
      </dgm:prSet>
      <dgm:spPr/>
    </dgm:pt>
    <dgm:pt modelId="{A73AE5F6-B281-4E3F-AC46-5B962412DE97}" type="pres">
      <dgm:prSet presAssocID="{5D1494DF-373C-4468-A49A-514319604E80}" presName="descendantText" presStyleLbl="alignAccFollowNode1" presStyleIdx="0" presStyleCnt="2" custScaleX="137042" custScaleY="128568">
        <dgm:presLayoutVars>
          <dgm:bulletEnabled val="1"/>
        </dgm:presLayoutVars>
      </dgm:prSet>
      <dgm:spPr/>
    </dgm:pt>
    <dgm:pt modelId="{70376F9F-A962-4CDD-AF4C-5C9CA96E461B}" type="pres">
      <dgm:prSet presAssocID="{517F4B9A-59FA-489D-B8E5-338D6F15EAC2}" presName="sp" presStyleCnt="0"/>
      <dgm:spPr/>
    </dgm:pt>
    <dgm:pt modelId="{493A8C50-1FCD-4EF0-BEAC-3C9E14B1BB1A}" type="pres">
      <dgm:prSet presAssocID="{D8FA1250-01FF-4A02-80EC-74BF4E7284BF}" presName="linNode" presStyleCnt="0"/>
      <dgm:spPr/>
    </dgm:pt>
    <dgm:pt modelId="{CDDAD772-9E5E-4B70-A14E-2DFFDFA34906}" type="pres">
      <dgm:prSet presAssocID="{D8FA1250-01FF-4A02-80EC-74BF4E7284BF}" presName="parentText" presStyleLbl="node1" presStyleIdx="1" presStyleCnt="2" custScaleX="88277" custScaleY="67071" custLinFactNeighborY="1494">
        <dgm:presLayoutVars>
          <dgm:chMax val="1"/>
          <dgm:bulletEnabled val="1"/>
        </dgm:presLayoutVars>
      </dgm:prSet>
      <dgm:spPr/>
    </dgm:pt>
    <dgm:pt modelId="{98F9A854-8546-4A8B-A8D5-7C43F2E73A22}" type="pres">
      <dgm:prSet presAssocID="{D8FA1250-01FF-4A02-80EC-74BF4E7284BF}" presName="descendantText" presStyleLbl="alignAccFollowNode1" presStyleIdx="1" presStyleCnt="2" custScaleX="166978" custScaleY="48035">
        <dgm:presLayoutVars>
          <dgm:bulletEnabled val="1"/>
        </dgm:presLayoutVars>
      </dgm:prSet>
      <dgm:spPr/>
    </dgm:pt>
  </dgm:ptLst>
  <dgm:cxnLst>
    <dgm:cxn modelId="{59856619-26CF-4B76-8680-63162A99CC1E}" srcId="{2A814265-7A8F-4FA4-9DF2-D9AA5FC14D4A}" destId="{5D1494DF-373C-4468-A49A-514319604E80}" srcOrd="0" destOrd="0" parTransId="{01A40260-E3FB-40EE-96FD-BA1B75812747}" sibTransId="{517F4B9A-59FA-489D-B8E5-338D6F15EAC2}"/>
    <dgm:cxn modelId="{C19CDA50-0D6D-463A-9722-F62EA7C1D1C3}" type="presOf" srcId="{5D1494DF-373C-4468-A49A-514319604E80}" destId="{2621620F-01FC-4819-A3A0-A1170814BB4E}" srcOrd="0" destOrd="0" presId="urn:microsoft.com/office/officeart/2005/8/layout/vList5"/>
    <dgm:cxn modelId="{D7AF5373-4EA2-4489-898E-FD7EE0FCED1B}" srcId="{5D1494DF-373C-4468-A49A-514319604E80}" destId="{C1C7262F-09A8-4674-B93A-78CE8D300732}" srcOrd="1" destOrd="0" parTransId="{EF568E99-CB69-4544-B9F3-282969D9039B}" sibTransId="{9FD3C7E7-A063-460D-A036-95F3F9BB6237}"/>
    <dgm:cxn modelId="{D4694175-DF85-47FA-BDE2-EB945BEFCF8A}" type="presOf" srcId="{2A814265-7A8F-4FA4-9DF2-D9AA5FC14D4A}" destId="{1CCB2482-2DBB-41BD-86F0-5B9520FC0C0C}" srcOrd="0" destOrd="0" presId="urn:microsoft.com/office/officeart/2005/8/layout/vList5"/>
    <dgm:cxn modelId="{51AE6B76-95D9-494B-9278-253F55049307}" srcId="{D8FA1250-01FF-4A02-80EC-74BF4E7284BF}" destId="{EEF9F5BE-3A54-458E-9103-CDBA3CEA560C}" srcOrd="0" destOrd="0" parTransId="{3D145321-22AC-4831-9AC8-EBE93C1C7ED8}" sibTransId="{807D8CCC-4358-4B03-8933-F3A1DD90ABB4}"/>
    <dgm:cxn modelId="{5300D07A-DCF4-475D-894D-A1D9353F463B}" type="presOf" srcId="{EEF9F5BE-3A54-458E-9103-CDBA3CEA560C}" destId="{98F9A854-8546-4A8B-A8D5-7C43F2E73A22}" srcOrd="0" destOrd="0" presId="urn:microsoft.com/office/officeart/2005/8/layout/vList5"/>
    <dgm:cxn modelId="{EFFB087E-F854-4F83-AABC-00D234738FEC}" type="presOf" srcId="{110D72EC-20D6-46AB-97EB-D9D4D6C89EB4}" destId="{A73AE5F6-B281-4E3F-AC46-5B962412DE97}" srcOrd="0" destOrd="2" presId="urn:microsoft.com/office/officeart/2005/8/layout/vList5"/>
    <dgm:cxn modelId="{163A008A-7BCA-44ED-853C-93D88129843A}" srcId="{2A814265-7A8F-4FA4-9DF2-D9AA5FC14D4A}" destId="{D8FA1250-01FF-4A02-80EC-74BF4E7284BF}" srcOrd="1" destOrd="0" parTransId="{CFC4CF03-1C1C-45D6-9EB6-F3EAF4A33586}" sibTransId="{8E4574A8-4E0E-4DD5-A7C8-E2C49E0E3CBE}"/>
    <dgm:cxn modelId="{0D37329C-0AEE-4145-950A-D22B6FDF9465}" type="presOf" srcId="{D8FA1250-01FF-4A02-80EC-74BF4E7284BF}" destId="{CDDAD772-9E5E-4B70-A14E-2DFFDFA34906}" srcOrd="0" destOrd="0" presId="urn:microsoft.com/office/officeart/2005/8/layout/vList5"/>
    <dgm:cxn modelId="{037651A7-9710-4AE7-A356-02ABD61DE482}" srcId="{5D1494DF-373C-4468-A49A-514319604E80}" destId="{505ADBA4-E900-4EBB-BEB6-974CFDDC29D3}" srcOrd="0" destOrd="0" parTransId="{4FCF47E0-CF4A-4001-8F26-6D35C44CEB4D}" sibTransId="{B194F090-B0D9-4F40-BBEA-D175BA892108}"/>
    <dgm:cxn modelId="{848EB9B3-80BE-41D2-9E15-6F26B0296654}" type="presOf" srcId="{C1C7262F-09A8-4674-B93A-78CE8D300732}" destId="{A73AE5F6-B281-4E3F-AC46-5B962412DE97}" srcOrd="0" destOrd="1" presId="urn:microsoft.com/office/officeart/2005/8/layout/vList5"/>
    <dgm:cxn modelId="{3A9D69C0-9A42-4B87-A51A-FEEBE150ABA3}" srcId="{5D1494DF-373C-4468-A49A-514319604E80}" destId="{110D72EC-20D6-46AB-97EB-D9D4D6C89EB4}" srcOrd="2" destOrd="0" parTransId="{CE7A3C59-E1F5-4DE1-946A-A00DBC7DE547}" sibTransId="{7CC7C6BC-A9D8-4E0A-83BC-2EDCC1FEC996}"/>
    <dgm:cxn modelId="{A75B06CE-91EB-4765-B157-18BA4F3A5BA3}" type="presOf" srcId="{505ADBA4-E900-4EBB-BEB6-974CFDDC29D3}" destId="{A73AE5F6-B281-4E3F-AC46-5B962412DE97}" srcOrd="0" destOrd="0" presId="urn:microsoft.com/office/officeart/2005/8/layout/vList5"/>
    <dgm:cxn modelId="{97472ABC-40AD-4219-B921-3F8AF04864EE}" type="presParOf" srcId="{1CCB2482-2DBB-41BD-86F0-5B9520FC0C0C}" destId="{9E60D0B6-F51D-4DAC-9EE9-BDE932CCB64F}" srcOrd="0" destOrd="0" presId="urn:microsoft.com/office/officeart/2005/8/layout/vList5"/>
    <dgm:cxn modelId="{DE57B919-B704-488A-AC80-8A0B5D3A788B}" type="presParOf" srcId="{9E60D0B6-F51D-4DAC-9EE9-BDE932CCB64F}" destId="{2621620F-01FC-4819-A3A0-A1170814BB4E}" srcOrd="0" destOrd="0" presId="urn:microsoft.com/office/officeart/2005/8/layout/vList5"/>
    <dgm:cxn modelId="{0FD7D9F4-6FE9-4726-8D4B-2CED2B43BA61}" type="presParOf" srcId="{9E60D0B6-F51D-4DAC-9EE9-BDE932CCB64F}" destId="{A73AE5F6-B281-4E3F-AC46-5B962412DE97}" srcOrd="1" destOrd="0" presId="urn:microsoft.com/office/officeart/2005/8/layout/vList5"/>
    <dgm:cxn modelId="{DA630133-B6AE-45C3-87F2-80E38CDCC193}" type="presParOf" srcId="{1CCB2482-2DBB-41BD-86F0-5B9520FC0C0C}" destId="{70376F9F-A962-4CDD-AF4C-5C9CA96E461B}" srcOrd="1" destOrd="0" presId="urn:microsoft.com/office/officeart/2005/8/layout/vList5"/>
    <dgm:cxn modelId="{0CE3E159-CC2E-4A1B-94C5-3E254167FCA1}" type="presParOf" srcId="{1CCB2482-2DBB-41BD-86F0-5B9520FC0C0C}" destId="{493A8C50-1FCD-4EF0-BEAC-3C9E14B1BB1A}" srcOrd="2" destOrd="0" presId="urn:microsoft.com/office/officeart/2005/8/layout/vList5"/>
    <dgm:cxn modelId="{88E93EE2-13A6-4F8A-8405-A8BD929C1584}" type="presParOf" srcId="{493A8C50-1FCD-4EF0-BEAC-3C9E14B1BB1A}" destId="{CDDAD772-9E5E-4B70-A14E-2DFFDFA34906}" srcOrd="0" destOrd="0" presId="urn:microsoft.com/office/officeart/2005/8/layout/vList5"/>
    <dgm:cxn modelId="{FA603276-26A0-422F-8253-142556D49B41}" type="presParOf" srcId="{493A8C50-1FCD-4EF0-BEAC-3C9E14B1BB1A}" destId="{98F9A854-8546-4A8B-A8D5-7C43F2E73A2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43B3C2E-C135-4C98-980B-8B46B1A2BBA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s-CL"/>
        </a:p>
      </dgm:t>
    </dgm:pt>
    <dgm:pt modelId="{C403B484-0F0D-47AB-AF1F-7275E0E00358}">
      <dgm:prSet phldrT="[Texto]"/>
      <dgm:spPr/>
      <dgm:t>
        <a:bodyPr/>
        <a:lstStyle/>
        <a:p>
          <a:r>
            <a:rPr lang="es-CL" dirty="0"/>
            <a:t>Mención explícita</a:t>
          </a:r>
        </a:p>
      </dgm:t>
    </dgm:pt>
    <dgm:pt modelId="{E8D1C1DA-1A19-4A7C-8C86-926BF96C6C16}" type="parTrans" cxnId="{34505DDF-B89A-41BC-BAE8-86C8946F4011}">
      <dgm:prSet/>
      <dgm:spPr/>
      <dgm:t>
        <a:bodyPr/>
        <a:lstStyle/>
        <a:p>
          <a:endParaRPr lang="es-CL"/>
        </a:p>
      </dgm:t>
    </dgm:pt>
    <dgm:pt modelId="{1C025D59-FDA6-4382-9E42-00DBD4581C45}" type="sibTrans" cxnId="{34505DDF-B89A-41BC-BAE8-86C8946F4011}">
      <dgm:prSet/>
      <dgm:spPr/>
      <dgm:t>
        <a:bodyPr/>
        <a:lstStyle/>
        <a:p>
          <a:endParaRPr lang="es-CL"/>
        </a:p>
      </dgm:t>
    </dgm:pt>
    <dgm:pt modelId="{8A997B60-3973-411C-878B-049360833217}">
      <dgm:prSet phldrT="[Texto]"/>
      <dgm:spPr>
        <a:solidFill>
          <a:srgbClr val="D0D8E8">
            <a:alpha val="80000"/>
          </a:srgbClr>
        </a:solidFill>
      </dgm:spPr>
      <dgm:t>
        <a:bodyPr/>
        <a:lstStyle/>
        <a:p>
          <a:r>
            <a:rPr lang="es-CL" dirty="0"/>
            <a:t>Medicina</a:t>
          </a:r>
        </a:p>
      </dgm:t>
    </dgm:pt>
    <dgm:pt modelId="{F500A468-7DF9-4170-B91E-D980B98C8611}" type="parTrans" cxnId="{10305D92-3EF1-4A3B-8FA3-6046182AF5D7}">
      <dgm:prSet/>
      <dgm:spPr/>
      <dgm:t>
        <a:bodyPr/>
        <a:lstStyle/>
        <a:p>
          <a:endParaRPr lang="es-CL"/>
        </a:p>
      </dgm:t>
    </dgm:pt>
    <dgm:pt modelId="{AA0C9CD4-5269-4B6F-9B53-81A67C03FB0A}" type="sibTrans" cxnId="{10305D92-3EF1-4A3B-8FA3-6046182AF5D7}">
      <dgm:prSet/>
      <dgm:spPr/>
      <dgm:t>
        <a:bodyPr/>
        <a:lstStyle/>
        <a:p>
          <a:endParaRPr lang="es-CL"/>
        </a:p>
      </dgm:t>
    </dgm:pt>
    <dgm:pt modelId="{54726F2A-53E5-405C-BF46-46D7C6ECA967}">
      <dgm:prSet phldrT="[Texto]"/>
      <dgm:spPr>
        <a:solidFill>
          <a:srgbClr val="D0D8E8">
            <a:alpha val="80000"/>
          </a:srgbClr>
        </a:solidFill>
      </dgm:spPr>
      <dgm:t>
        <a:bodyPr/>
        <a:lstStyle/>
        <a:p>
          <a:r>
            <a:rPr lang="es-CL" dirty="0"/>
            <a:t>Odontología</a:t>
          </a:r>
        </a:p>
      </dgm:t>
    </dgm:pt>
    <dgm:pt modelId="{2C37EB94-720C-467E-BDFA-F6B7B530708D}" type="parTrans" cxnId="{4A58D8DA-2F2E-427F-AE9D-6E793364A59C}">
      <dgm:prSet/>
      <dgm:spPr/>
      <dgm:t>
        <a:bodyPr/>
        <a:lstStyle/>
        <a:p>
          <a:endParaRPr lang="es-CL"/>
        </a:p>
      </dgm:t>
    </dgm:pt>
    <dgm:pt modelId="{D627001E-C4A0-4025-9048-7C224E3EE67F}" type="sibTrans" cxnId="{4A58D8DA-2F2E-427F-AE9D-6E793364A59C}">
      <dgm:prSet/>
      <dgm:spPr/>
      <dgm:t>
        <a:bodyPr/>
        <a:lstStyle/>
        <a:p>
          <a:endParaRPr lang="es-CL"/>
        </a:p>
      </dgm:t>
    </dgm:pt>
    <dgm:pt modelId="{1F331D8E-0A95-437E-92FD-8700FCA0DBAB}">
      <dgm:prSet phldrT="[Texto]"/>
      <dgm:spPr/>
      <dgm:t>
        <a:bodyPr/>
        <a:lstStyle/>
        <a:p>
          <a:r>
            <a:rPr lang="es-CL" dirty="0"/>
            <a:t>Mención implícita</a:t>
          </a:r>
        </a:p>
      </dgm:t>
    </dgm:pt>
    <dgm:pt modelId="{1BBDA0C1-F4CF-43C8-A2D1-AAF4FBF2CE42}" type="parTrans" cxnId="{1A44A575-8AD5-4BE6-A584-5B8E22219494}">
      <dgm:prSet/>
      <dgm:spPr/>
      <dgm:t>
        <a:bodyPr/>
        <a:lstStyle/>
        <a:p>
          <a:endParaRPr lang="es-CL"/>
        </a:p>
      </dgm:t>
    </dgm:pt>
    <dgm:pt modelId="{560EDF77-4BBA-4EDC-885E-82BCB0FB3F14}" type="sibTrans" cxnId="{1A44A575-8AD5-4BE6-A584-5B8E22219494}">
      <dgm:prSet/>
      <dgm:spPr/>
      <dgm:t>
        <a:bodyPr/>
        <a:lstStyle/>
        <a:p>
          <a:endParaRPr lang="es-CL"/>
        </a:p>
      </dgm:t>
    </dgm:pt>
    <dgm:pt modelId="{3CBD2432-43DB-42FB-9850-16991C722E6A}">
      <dgm:prSet phldrT="[Texto]"/>
      <dgm:spPr>
        <a:solidFill>
          <a:srgbClr val="D0D8E8">
            <a:alpha val="80000"/>
          </a:srgbClr>
        </a:solidFill>
      </dgm:spPr>
      <dgm:t>
        <a:bodyPr/>
        <a:lstStyle/>
        <a:p>
          <a:r>
            <a:rPr lang="es-CL" dirty="0"/>
            <a:t>Nutrición</a:t>
          </a:r>
        </a:p>
      </dgm:t>
    </dgm:pt>
    <dgm:pt modelId="{D16BDC63-7EBF-465A-9175-5DC531200213}" type="parTrans" cxnId="{C46688C6-3A26-4CFF-ABCD-B0627DA55ECE}">
      <dgm:prSet/>
      <dgm:spPr/>
      <dgm:t>
        <a:bodyPr/>
        <a:lstStyle/>
        <a:p>
          <a:endParaRPr lang="es-CL"/>
        </a:p>
      </dgm:t>
    </dgm:pt>
    <dgm:pt modelId="{241B150F-FA7B-4FD6-862E-EF5F8BBE5903}" type="sibTrans" cxnId="{C46688C6-3A26-4CFF-ABCD-B0627DA55ECE}">
      <dgm:prSet/>
      <dgm:spPr/>
      <dgm:t>
        <a:bodyPr/>
        <a:lstStyle/>
        <a:p>
          <a:endParaRPr lang="es-CL"/>
        </a:p>
      </dgm:t>
    </dgm:pt>
    <dgm:pt modelId="{F9A74C0E-039E-4656-97A6-86597ABFF734}">
      <dgm:prSet phldrT="[Texto]"/>
      <dgm:spPr>
        <a:solidFill>
          <a:srgbClr val="D0D8E8">
            <a:alpha val="80000"/>
          </a:srgbClr>
        </a:solidFill>
      </dgm:spPr>
      <dgm:t>
        <a:bodyPr/>
        <a:lstStyle/>
        <a:p>
          <a:r>
            <a:rPr lang="es-CL" dirty="0"/>
            <a:t>Fonoaudiología</a:t>
          </a:r>
        </a:p>
      </dgm:t>
    </dgm:pt>
    <dgm:pt modelId="{6CBBFB1F-577B-49BE-913E-623754EB7B18}" type="parTrans" cxnId="{66EC7708-7E06-44B9-8CEB-8794754CE1EA}">
      <dgm:prSet/>
      <dgm:spPr/>
      <dgm:t>
        <a:bodyPr/>
        <a:lstStyle/>
        <a:p>
          <a:endParaRPr lang="es-CL"/>
        </a:p>
      </dgm:t>
    </dgm:pt>
    <dgm:pt modelId="{8B22B213-DC01-49ED-9EE5-DD045899028D}" type="sibTrans" cxnId="{66EC7708-7E06-44B9-8CEB-8794754CE1EA}">
      <dgm:prSet/>
      <dgm:spPr/>
      <dgm:t>
        <a:bodyPr/>
        <a:lstStyle/>
        <a:p>
          <a:endParaRPr lang="es-CL"/>
        </a:p>
      </dgm:t>
    </dgm:pt>
    <dgm:pt modelId="{31485CB9-7A7E-42D4-BAC5-BA4E4191BD98}">
      <dgm:prSet phldrT="[Texto]"/>
      <dgm:spPr/>
      <dgm:t>
        <a:bodyPr/>
        <a:lstStyle/>
        <a:p>
          <a:r>
            <a:rPr lang="es-CL" dirty="0"/>
            <a:t>No mencionado</a:t>
          </a:r>
        </a:p>
      </dgm:t>
    </dgm:pt>
    <dgm:pt modelId="{B50EB7D9-3142-488C-8218-E4676B4D7960}" type="parTrans" cxnId="{A267EEA3-C48F-4F45-A6D2-AECD4D48CAD3}">
      <dgm:prSet/>
      <dgm:spPr/>
      <dgm:t>
        <a:bodyPr/>
        <a:lstStyle/>
        <a:p>
          <a:endParaRPr lang="es-CL"/>
        </a:p>
      </dgm:t>
    </dgm:pt>
    <dgm:pt modelId="{32526471-A9B3-45AF-BD54-276341768900}" type="sibTrans" cxnId="{A267EEA3-C48F-4F45-A6D2-AECD4D48CAD3}">
      <dgm:prSet/>
      <dgm:spPr/>
      <dgm:t>
        <a:bodyPr/>
        <a:lstStyle/>
        <a:p>
          <a:endParaRPr lang="es-CL"/>
        </a:p>
      </dgm:t>
    </dgm:pt>
    <dgm:pt modelId="{5D6FF463-7993-4986-B406-D2EAC351BD6A}">
      <dgm:prSet phldrT="[Texto]"/>
      <dgm:spPr>
        <a:solidFill>
          <a:srgbClr val="D0D8E8">
            <a:alpha val="80000"/>
          </a:srgbClr>
        </a:solidFill>
      </dgm:spPr>
      <dgm:t>
        <a:bodyPr/>
        <a:lstStyle/>
        <a:p>
          <a:r>
            <a:rPr lang="es-CL" dirty="0"/>
            <a:t>Técnicos en Salud:</a:t>
          </a:r>
        </a:p>
      </dgm:t>
    </dgm:pt>
    <dgm:pt modelId="{C998A768-3CE8-43CD-BEC4-D05CCCBF6E6B}" type="parTrans" cxnId="{5738A8F5-BAEE-4498-9F6A-BB5B78BA5A43}">
      <dgm:prSet/>
      <dgm:spPr/>
      <dgm:t>
        <a:bodyPr/>
        <a:lstStyle/>
        <a:p>
          <a:endParaRPr lang="es-CL"/>
        </a:p>
      </dgm:t>
    </dgm:pt>
    <dgm:pt modelId="{D3B0BDA3-20E5-4DDA-AC8B-66939A048F99}" type="sibTrans" cxnId="{5738A8F5-BAEE-4498-9F6A-BB5B78BA5A43}">
      <dgm:prSet/>
      <dgm:spPr/>
      <dgm:t>
        <a:bodyPr/>
        <a:lstStyle/>
        <a:p>
          <a:endParaRPr lang="es-CL"/>
        </a:p>
      </dgm:t>
    </dgm:pt>
    <dgm:pt modelId="{1BBAA195-36D2-4E34-84EC-9E3A04726335}">
      <dgm:prSet phldrT="[Texto]"/>
      <dgm:spPr>
        <a:solidFill>
          <a:srgbClr val="D0D8E8">
            <a:alpha val="80000"/>
          </a:srgbClr>
        </a:solidFill>
      </dgm:spPr>
      <dgm:t>
        <a:bodyPr/>
        <a:lstStyle/>
        <a:p>
          <a:r>
            <a:rPr lang="es-CL" dirty="0"/>
            <a:t>Química y Farmacia</a:t>
          </a:r>
        </a:p>
      </dgm:t>
    </dgm:pt>
    <dgm:pt modelId="{5DF10C18-0F0A-48E1-B5D9-064019330542}" type="parTrans" cxnId="{C06C2D0E-2144-4F51-8842-D81B09F52C69}">
      <dgm:prSet/>
      <dgm:spPr/>
      <dgm:t>
        <a:bodyPr/>
        <a:lstStyle/>
        <a:p>
          <a:endParaRPr lang="es-CL"/>
        </a:p>
      </dgm:t>
    </dgm:pt>
    <dgm:pt modelId="{575C97AF-4AC3-4108-BACE-0D17C32B52DD}" type="sibTrans" cxnId="{C06C2D0E-2144-4F51-8842-D81B09F52C69}">
      <dgm:prSet/>
      <dgm:spPr/>
      <dgm:t>
        <a:bodyPr/>
        <a:lstStyle/>
        <a:p>
          <a:endParaRPr lang="es-CL"/>
        </a:p>
      </dgm:t>
    </dgm:pt>
    <dgm:pt modelId="{E2C28875-FAA5-4EAE-8048-DDA8C8B28952}">
      <dgm:prSet phldrT="[Texto]"/>
      <dgm:spPr>
        <a:solidFill>
          <a:srgbClr val="D0D8E8">
            <a:alpha val="80000"/>
          </a:srgbClr>
        </a:solidFill>
      </dgm:spPr>
      <dgm:t>
        <a:bodyPr/>
        <a:lstStyle/>
        <a:p>
          <a:r>
            <a:rPr lang="es-CL" dirty="0"/>
            <a:t>Psicología</a:t>
          </a:r>
        </a:p>
      </dgm:t>
    </dgm:pt>
    <dgm:pt modelId="{270586BD-4FA4-48F1-8FFD-5D3EBE21BAA8}" type="parTrans" cxnId="{6C6B2D72-D198-45EF-961F-459143AA881E}">
      <dgm:prSet/>
      <dgm:spPr/>
      <dgm:t>
        <a:bodyPr/>
        <a:lstStyle/>
        <a:p>
          <a:endParaRPr lang="es-CL"/>
        </a:p>
      </dgm:t>
    </dgm:pt>
    <dgm:pt modelId="{57190234-5750-41BD-B8F4-B25A02DA2A84}" type="sibTrans" cxnId="{6C6B2D72-D198-45EF-961F-459143AA881E}">
      <dgm:prSet/>
      <dgm:spPr/>
      <dgm:t>
        <a:bodyPr/>
        <a:lstStyle/>
        <a:p>
          <a:endParaRPr lang="es-CL"/>
        </a:p>
      </dgm:t>
    </dgm:pt>
    <dgm:pt modelId="{A83C3381-1327-42CD-A4FA-09140C4B1962}">
      <dgm:prSet phldrT="[Texto]"/>
      <dgm:spPr>
        <a:solidFill>
          <a:srgbClr val="D0D8E8">
            <a:alpha val="80000"/>
          </a:srgbClr>
        </a:solidFill>
      </dgm:spPr>
      <dgm:t>
        <a:bodyPr/>
        <a:lstStyle/>
        <a:p>
          <a:r>
            <a:rPr lang="es-CL" dirty="0"/>
            <a:t>Enfermería</a:t>
          </a:r>
        </a:p>
      </dgm:t>
    </dgm:pt>
    <dgm:pt modelId="{69C2FFB5-81AF-4EB4-B883-0E8608598858}" type="parTrans" cxnId="{F447AD43-17AB-4F10-8EA6-6963D13E9C1E}">
      <dgm:prSet/>
      <dgm:spPr/>
      <dgm:t>
        <a:bodyPr/>
        <a:lstStyle/>
        <a:p>
          <a:endParaRPr lang="es-CL"/>
        </a:p>
      </dgm:t>
    </dgm:pt>
    <dgm:pt modelId="{473C1713-4505-472C-9C03-C2FB9CFB5982}" type="sibTrans" cxnId="{F447AD43-17AB-4F10-8EA6-6963D13E9C1E}">
      <dgm:prSet/>
      <dgm:spPr/>
      <dgm:t>
        <a:bodyPr/>
        <a:lstStyle/>
        <a:p>
          <a:endParaRPr lang="es-CL"/>
        </a:p>
      </dgm:t>
    </dgm:pt>
    <dgm:pt modelId="{55350BE8-0018-45B0-BA83-DEFA5A35B469}">
      <dgm:prSet phldrT="[Texto]"/>
      <dgm:spPr>
        <a:solidFill>
          <a:srgbClr val="D0D8E8">
            <a:alpha val="80000"/>
          </a:srgbClr>
        </a:solidFill>
      </dgm:spPr>
      <dgm:t>
        <a:bodyPr/>
        <a:lstStyle/>
        <a:p>
          <a:r>
            <a:rPr lang="es-CL" dirty="0"/>
            <a:t>Tecnología Medica Oftalmología</a:t>
          </a:r>
        </a:p>
      </dgm:t>
    </dgm:pt>
    <dgm:pt modelId="{A2ECBD2D-F11E-4422-9549-281D814EEAC6}" type="parTrans" cxnId="{65E468C4-0898-4C3A-9361-38CEE830D281}">
      <dgm:prSet/>
      <dgm:spPr/>
      <dgm:t>
        <a:bodyPr/>
        <a:lstStyle/>
        <a:p>
          <a:endParaRPr lang="es-CL"/>
        </a:p>
      </dgm:t>
    </dgm:pt>
    <dgm:pt modelId="{A2F6A909-AB2A-43EF-8C2E-2C84301D721F}" type="sibTrans" cxnId="{65E468C4-0898-4C3A-9361-38CEE830D281}">
      <dgm:prSet/>
      <dgm:spPr/>
      <dgm:t>
        <a:bodyPr/>
        <a:lstStyle/>
        <a:p>
          <a:endParaRPr lang="es-CL"/>
        </a:p>
      </dgm:t>
    </dgm:pt>
    <dgm:pt modelId="{3D6E18C7-1CA1-4322-A87D-03415AF1F719}">
      <dgm:prSet phldrT="[Texto]"/>
      <dgm:spPr>
        <a:solidFill>
          <a:srgbClr val="D0D8E8">
            <a:alpha val="80000"/>
          </a:srgbClr>
        </a:solidFill>
      </dgm:spPr>
      <dgm:t>
        <a:bodyPr/>
        <a:lstStyle/>
        <a:p>
          <a:r>
            <a:rPr lang="es-CL" dirty="0" err="1"/>
            <a:t>Matronería</a:t>
          </a:r>
          <a:endParaRPr lang="es-CL" dirty="0"/>
        </a:p>
      </dgm:t>
    </dgm:pt>
    <dgm:pt modelId="{C72EC7B5-29AC-452E-9946-EC49A6AEA325}" type="parTrans" cxnId="{40393683-80E8-4A6C-B02D-0D2153D27E80}">
      <dgm:prSet/>
      <dgm:spPr/>
      <dgm:t>
        <a:bodyPr/>
        <a:lstStyle/>
        <a:p>
          <a:endParaRPr lang="es-CL"/>
        </a:p>
      </dgm:t>
    </dgm:pt>
    <dgm:pt modelId="{9D35244C-69A9-49FC-B808-ED07761B6724}" type="sibTrans" cxnId="{40393683-80E8-4A6C-B02D-0D2153D27E80}">
      <dgm:prSet/>
      <dgm:spPr/>
      <dgm:t>
        <a:bodyPr/>
        <a:lstStyle/>
        <a:p>
          <a:endParaRPr lang="es-CL"/>
        </a:p>
      </dgm:t>
    </dgm:pt>
    <dgm:pt modelId="{D272B87A-7968-41AB-A757-F462EF66AB0F}">
      <dgm:prSet phldrT="[Texto]"/>
      <dgm:spPr>
        <a:solidFill>
          <a:srgbClr val="D0D8E8">
            <a:alpha val="80000"/>
          </a:srgbClr>
        </a:solidFill>
      </dgm:spPr>
      <dgm:t>
        <a:bodyPr/>
        <a:lstStyle/>
        <a:p>
          <a:r>
            <a:rPr lang="es-CL" dirty="0"/>
            <a:t>Profesiones auxiliares</a:t>
          </a:r>
        </a:p>
      </dgm:t>
    </dgm:pt>
    <dgm:pt modelId="{DAEF94EF-781B-4567-B52C-67D783E28E8D}" type="parTrans" cxnId="{57C9CDDC-5FEA-4722-BA0B-E0EE641E21C6}">
      <dgm:prSet/>
      <dgm:spPr/>
      <dgm:t>
        <a:bodyPr/>
        <a:lstStyle/>
        <a:p>
          <a:endParaRPr lang="es-CL"/>
        </a:p>
      </dgm:t>
    </dgm:pt>
    <dgm:pt modelId="{0C0BAD3A-A380-41F6-962F-CDF1C5A82F8A}" type="sibTrans" cxnId="{57C9CDDC-5FEA-4722-BA0B-E0EE641E21C6}">
      <dgm:prSet/>
      <dgm:spPr/>
      <dgm:t>
        <a:bodyPr/>
        <a:lstStyle/>
        <a:p>
          <a:endParaRPr lang="es-CL"/>
        </a:p>
      </dgm:t>
    </dgm:pt>
    <dgm:pt modelId="{C8A33BD8-2BA3-4E02-BD53-979283870BEF}">
      <dgm:prSet phldrT="[Texto]"/>
      <dgm:spPr>
        <a:solidFill>
          <a:srgbClr val="D0D8E8">
            <a:alpha val="80000"/>
          </a:srgbClr>
        </a:solidFill>
      </dgm:spPr>
      <dgm:t>
        <a:bodyPr/>
        <a:lstStyle/>
        <a:p>
          <a:r>
            <a:rPr lang="es-CL" dirty="0"/>
            <a:t>Terapia Ocupacional</a:t>
          </a:r>
        </a:p>
      </dgm:t>
    </dgm:pt>
    <dgm:pt modelId="{B5FBCABA-9FD7-4FB0-97E9-6E6938F2E020}" type="parTrans" cxnId="{23581C55-8517-4BB6-A535-B1AED33249B7}">
      <dgm:prSet/>
      <dgm:spPr/>
      <dgm:t>
        <a:bodyPr/>
        <a:lstStyle/>
        <a:p>
          <a:endParaRPr lang="es-CL"/>
        </a:p>
      </dgm:t>
    </dgm:pt>
    <dgm:pt modelId="{B79ABECA-5F21-4639-8F0C-B9CFE40059AA}" type="sibTrans" cxnId="{23581C55-8517-4BB6-A535-B1AED33249B7}">
      <dgm:prSet/>
      <dgm:spPr/>
      <dgm:t>
        <a:bodyPr/>
        <a:lstStyle/>
        <a:p>
          <a:endParaRPr lang="es-CL"/>
        </a:p>
      </dgm:t>
    </dgm:pt>
    <dgm:pt modelId="{04B163F0-1250-44EE-A047-0B3A3211B5D9}">
      <dgm:prSet phldrT="[Texto]"/>
      <dgm:spPr>
        <a:solidFill>
          <a:srgbClr val="D0D8E8">
            <a:alpha val="80000"/>
          </a:srgbClr>
        </a:solidFill>
      </dgm:spPr>
      <dgm:t>
        <a:bodyPr/>
        <a:lstStyle/>
        <a:p>
          <a:r>
            <a:rPr lang="es-CL" dirty="0"/>
            <a:t>Kinesiología</a:t>
          </a:r>
        </a:p>
      </dgm:t>
    </dgm:pt>
    <dgm:pt modelId="{5F8E4A43-7E93-44F1-B75F-9CE61F62DC5A}" type="parTrans" cxnId="{FB97F1D9-D30E-430A-8387-3BCF08D0A445}">
      <dgm:prSet/>
      <dgm:spPr/>
      <dgm:t>
        <a:bodyPr/>
        <a:lstStyle/>
        <a:p>
          <a:endParaRPr lang="es-CL"/>
        </a:p>
      </dgm:t>
    </dgm:pt>
    <dgm:pt modelId="{5DB27771-B8E0-4DD0-9545-346421EBAE16}" type="sibTrans" cxnId="{FB97F1D9-D30E-430A-8387-3BCF08D0A445}">
      <dgm:prSet/>
      <dgm:spPr/>
      <dgm:t>
        <a:bodyPr/>
        <a:lstStyle/>
        <a:p>
          <a:endParaRPr lang="es-CL"/>
        </a:p>
      </dgm:t>
    </dgm:pt>
    <dgm:pt modelId="{B6C58423-4FB8-400F-B5DE-374997F0D80B}">
      <dgm:prSet phldrT="[Texto]"/>
      <dgm:spPr>
        <a:solidFill>
          <a:srgbClr val="D0D8E8">
            <a:alpha val="80000"/>
          </a:srgbClr>
        </a:solidFill>
      </dgm:spPr>
      <dgm:t>
        <a:bodyPr/>
        <a:lstStyle/>
        <a:p>
          <a:r>
            <a:rPr lang="es-CL" dirty="0"/>
            <a:t>Bioquímica</a:t>
          </a:r>
        </a:p>
      </dgm:t>
    </dgm:pt>
    <dgm:pt modelId="{E942E359-4646-4458-876D-A95D5169FB1E}" type="parTrans" cxnId="{4539D75A-BA16-41DF-B651-937DEA4336ED}">
      <dgm:prSet/>
      <dgm:spPr/>
      <dgm:t>
        <a:bodyPr/>
        <a:lstStyle/>
        <a:p>
          <a:endParaRPr lang="es-CL"/>
        </a:p>
      </dgm:t>
    </dgm:pt>
    <dgm:pt modelId="{55567AD2-4DE8-4C62-A69E-4AF5222AD3AC}" type="sibTrans" cxnId="{4539D75A-BA16-41DF-B651-937DEA4336ED}">
      <dgm:prSet/>
      <dgm:spPr/>
      <dgm:t>
        <a:bodyPr/>
        <a:lstStyle/>
        <a:p>
          <a:endParaRPr lang="es-CL"/>
        </a:p>
      </dgm:t>
    </dgm:pt>
    <dgm:pt modelId="{C9821443-EF91-4C5D-9EF6-28AD9DFCE0AC}">
      <dgm:prSet phldrT="[Texto]"/>
      <dgm:spPr>
        <a:solidFill>
          <a:srgbClr val="D0D8E8">
            <a:alpha val="80000"/>
          </a:srgbClr>
        </a:solidFill>
      </dgm:spPr>
      <dgm:t>
        <a:bodyPr/>
        <a:lstStyle/>
        <a:p>
          <a:r>
            <a:rPr lang="es-CL" dirty="0"/>
            <a:t>Tecnología médica otras menciones</a:t>
          </a:r>
        </a:p>
      </dgm:t>
    </dgm:pt>
    <dgm:pt modelId="{7C5BA4F5-0137-4EC9-9B1D-530F832B3DAB}" type="parTrans" cxnId="{CB1A6F6B-886D-426C-A41C-54E31E244276}">
      <dgm:prSet/>
      <dgm:spPr/>
      <dgm:t>
        <a:bodyPr/>
        <a:lstStyle/>
        <a:p>
          <a:endParaRPr lang="es-CL"/>
        </a:p>
      </dgm:t>
    </dgm:pt>
    <dgm:pt modelId="{25FA27A0-13FF-405A-A6B2-9242411EF237}" type="sibTrans" cxnId="{CB1A6F6B-886D-426C-A41C-54E31E244276}">
      <dgm:prSet/>
      <dgm:spPr/>
      <dgm:t>
        <a:bodyPr/>
        <a:lstStyle/>
        <a:p>
          <a:endParaRPr lang="es-CL"/>
        </a:p>
      </dgm:t>
    </dgm:pt>
    <dgm:pt modelId="{AD0349BB-6515-4C6B-97C2-0883B6627847}">
      <dgm:prSet phldrT="[Texto]"/>
      <dgm:spPr>
        <a:solidFill>
          <a:srgbClr val="D0D8E8">
            <a:alpha val="80000"/>
          </a:srgbClr>
        </a:solidFill>
      </dgm:spPr>
      <dgm:t>
        <a:bodyPr/>
        <a:lstStyle/>
        <a:p>
          <a:r>
            <a:rPr lang="es-CL" dirty="0"/>
            <a:t>Medicina Veterinaria</a:t>
          </a:r>
        </a:p>
      </dgm:t>
    </dgm:pt>
    <dgm:pt modelId="{0D358220-A6A9-4D89-B69C-4B8D942F429D}" type="parTrans" cxnId="{6073973D-1462-4E63-8031-EAC6A82C9FF9}">
      <dgm:prSet/>
      <dgm:spPr/>
      <dgm:t>
        <a:bodyPr/>
        <a:lstStyle/>
        <a:p>
          <a:endParaRPr lang="es-CL"/>
        </a:p>
      </dgm:t>
    </dgm:pt>
    <dgm:pt modelId="{EA75386F-B62F-42E1-A38B-10180BCB41B3}" type="sibTrans" cxnId="{6073973D-1462-4E63-8031-EAC6A82C9FF9}">
      <dgm:prSet/>
      <dgm:spPr/>
      <dgm:t>
        <a:bodyPr/>
        <a:lstStyle/>
        <a:p>
          <a:endParaRPr lang="es-CL"/>
        </a:p>
      </dgm:t>
    </dgm:pt>
    <dgm:pt modelId="{09D28A07-D75B-435D-870B-D10CA7664164}">
      <dgm:prSet phldrT="[Texto]"/>
      <dgm:spPr>
        <a:solidFill>
          <a:srgbClr val="D0D8E8">
            <a:alpha val="80000"/>
          </a:srgbClr>
        </a:solidFill>
      </dgm:spPr>
      <dgm:t>
        <a:bodyPr/>
        <a:lstStyle/>
        <a:p>
          <a:endParaRPr lang="es-CL" dirty="0"/>
        </a:p>
      </dgm:t>
    </dgm:pt>
    <dgm:pt modelId="{8F446DDB-4148-4B9E-BE5C-0F4C7178A0B6}" type="parTrans" cxnId="{8FA9D951-3F98-44AD-B2AE-4253B4A0DD38}">
      <dgm:prSet/>
      <dgm:spPr/>
      <dgm:t>
        <a:bodyPr/>
        <a:lstStyle/>
        <a:p>
          <a:endParaRPr lang="es-ES"/>
        </a:p>
      </dgm:t>
    </dgm:pt>
    <dgm:pt modelId="{36901A8A-EC7C-4BAD-894C-755136914888}" type="sibTrans" cxnId="{8FA9D951-3F98-44AD-B2AE-4253B4A0DD38}">
      <dgm:prSet/>
      <dgm:spPr/>
      <dgm:t>
        <a:bodyPr/>
        <a:lstStyle/>
        <a:p>
          <a:endParaRPr lang="es-ES"/>
        </a:p>
      </dgm:t>
    </dgm:pt>
    <dgm:pt modelId="{B79BCC56-3CCD-4B8C-9EAC-29F3301BB827}" type="pres">
      <dgm:prSet presAssocID="{843B3C2E-C135-4C98-980B-8B46B1A2BBAA}" presName="Name0" presStyleCnt="0">
        <dgm:presLayoutVars>
          <dgm:dir/>
          <dgm:animLvl val="lvl"/>
          <dgm:resizeHandles val="exact"/>
        </dgm:presLayoutVars>
      </dgm:prSet>
      <dgm:spPr/>
    </dgm:pt>
    <dgm:pt modelId="{0F270129-5D59-4371-80C0-E7486A6AE781}" type="pres">
      <dgm:prSet presAssocID="{C403B484-0F0D-47AB-AF1F-7275E0E00358}" presName="composite" presStyleCnt="0"/>
      <dgm:spPr/>
    </dgm:pt>
    <dgm:pt modelId="{20B1A99D-023B-4D61-8071-89B463272CCA}" type="pres">
      <dgm:prSet presAssocID="{C403B484-0F0D-47AB-AF1F-7275E0E00358}" presName="parTx" presStyleLbl="alignNode1" presStyleIdx="0" presStyleCnt="3">
        <dgm:presLayoutVars>
          <dgm:chMax val="0"/>
          <dgm:chPref val="0"/>
          <dgm:bulletEnabled val="1"/>
        </dgm:presLayoutVars>
      </dgm:prSet>
      <dgm:spPr/>
    </dgm:pt>
    <dgm:pt modelId="{BBC5908F-BAC2-4DBC-B8AF-E473AA6498EC}" type="pres">
      <dgm:prSet presAssocID="{C403B484-0F0D-47AB-AF1F-7275E0E00358}" presName="desTx" presStyleLbl="alignAccFollowNode1" presStyleIdx="0" presStyleCnt="3">
        <dgm:presLayoutVars>
          <dgm:bulletEnabled val="1"/>
        </dgm:presLayoutVars>
      </dgm:prSet>
      <dgm:spPr/>
    </dgm:pt>
    <dgm:pt modelId="{0D709FD9-EA91-406C-BA25-D49835C77148}" type="pres">
      <dgm:prSet presAssocID="{1C025D59-FDA6-4382-9E42-00DBD4581C45}" presName="space" presStyleCnt="0"/>
      <dgm:spPr/>
    </dgm:pt>
    <dgm:pt modelId="{7BC70994-39A9-4BE7-AF1B-533A42D220BF}" type="pres">
      <dgm:prSet presAssocID="{1F331D8E-0A95-437E-92FD-8700FCA0DBAB}" presName="composite" presStyleCnt="0"/>
      <dgm:spPr/>
    </dgm:pt>
    <dgm:pt modelId="{2288C203-7D2D-4F1C-A9C4-6C0C72696611}" type="pres">
      <dgm:prSet presAssocID="{1F331D8E-0A95-437E-92FD-8700FCA0DBAB}" presName="parTx" presStyleLbl="alignNode1" presStyleIdx="1" presStyleCnt="3">
        <dgm:presLayoutVars>
          <dgm:chMax val="0"/>
          <dgm:chPref val="0"/>
          <dgm:bulletEnabled val="1"/>
        </dgm:presLayoutVars>
      </dgm:prSet>
      <dgm:spPr/>
    </dgm:pt>
    <dgm:pt modelId="{6C142A8E-B617-4773-9B32-D2E7CDE681A1}" type="pres">
      <dgm:prSet presAssocID="{1F331D8E-0A95-437E-92FD-8700FCA0DBAB}" presName="desTx" presStyleLbl="alignAccFollowNode1" presStyleIdx="1" presStyleCnt="3">
        <dgm:presLayoutVars>
          <dgm:bulletEnabled val="1"/>
        </dgm:presLayoutVars>
      </dgm:prSet>
      <dgm:spPr/>
    </dgm:pt>
    <dgm:pt modelId="{CCAB19DF-9B7E-4572-BF8F-73748A27461C}" type="pres">
      <dgm:prSet presAssocID="{560EDF77-4BBA-4EDC-885E-82BCB0FB3F14}" presName="space" presStyleCnt="0"/>
      <dgm:spPr/>
    </dgm:pt>
    <dgm:pt modelId="{BEE73793-B7B6-456A-A955-C12FCBF81C68}" type="pres">
      <dgm:prSet presAssocID="{31485CB9-7A7E-42D4-BAC5-BA4E4191BD98}" presName="composite" presStyleCnt="0"/>
      <dgm:spPr/>
    </dgm:pt>
    <dgm:pt modelId="{C00B3C34-FD1C-41B8-B8DA-2227268FD0E1}" type="pres">
      <dgm:prSet presAssocID="{31485CB9-7A7E-42D4-BAC5-BA4E4191BD98}" presName="parTx" presStyleLbl="alignNode1" presStyleIdx="2" presStyleCnt="3">
        <dgm:presLayoutVars>
          <dgm:chMax val="0"/>
          <dgm:chPref val="0"/>
          <dgm:bulletEnabled val="1"/>
        </dgm:presLayoutVars>
      </dgm:prSet>
      <dgm:spPr/>
    </dgm:pt>
    <dgm:pt modelId="{5C43E96F-4834-4C4D-9B83-C2A4DE04D993}" type="pres">
      <dgm:prSet presAssocID="{31485CB9-7A7E-42D4-BAC5-BA4E4191BD98}" presName="desTx" presStyleLbl="alignAccFollowNode1" presStyleIdx="2" presStyleCnt="3">
        <dgm:presLayoutVars>
          <dgm:bulletEnabled val="1"/>
        </dgm:presLayoutVars>
      </dgm:prSet>
      <dgm:spPr/>
    </dgm:pt>
  </dgm:ptLst>
  <dgm:cxnLst>
    <dgm:cxn modelId="{66EC7708-7E06-44B9-8CEB-8794754CE1EA}" srcId="{1F331D8E-0A95-437E-92FD-8700FCA0DBAB}" destId="{F9A74C0E-039E-4656-97A6-86597ABFF734}" srcOrd="1" destOrd="0" parTransId="{6CBBFB1F-577B-49BE-913E-623754EB7B18}" sibTransId="{8B22B213-DC01-49ED-9EE5-DD045899028D}"/>
    <dgm:cxn modelId="{10513909-C3C9-4546-895F-2D70BCEF5153}" type="presOf" srcId="{C9821443-EF91-4C5D-9EF6-28AD9DFCE0AC}" destId="{6C142A8E-B617-4773-9B32-D2E7CDE681A1}" srcOrd="0" destOrd="5" presId="urn:microsoft.com/office/officeart/2005/8/layout/hList1"/>
    <dgm:cxn modelId="{C06C2D0E-2144-4F51-8842-D81B09F52C69}" srcId="{C403B484-0F0D-47AB-AF1F-7275E0E00358}" destId="{1BBAA195-36D2-4E34-84EC-9E3A04726335}" srcOrd="2" destOrd="0" parTransId="{5DF10C18-0F0A-48E1-B5D9-064019330542}" sibTransId="{575C97AF-4AC3-4108-BACE-0D17C32B52DD}"/>
    <dgm:cxn modelId="{9623FF0E-A4D4-4289-A49D-6EA85A2AECB0}" type="presOf" srcId="{C8A33BD8-2BA3-4E02-BD53-979283870BEF}" destId="{6C142A8E-B617-4773-9B32-D2E7CDE681A1}" srcOrd="0" destOrd="2" presId="urn:microsoft.com/office/officeart/2005/8/layout/hList1"/>
    <dgm:cxn modelId="{A373C510-8C34-48D0-A9DF-828D16994CE8}" type="presOf" srcId="{1F331D8E-0A95-437E-92FD-8700FCA0DBAB}" destId="{2288C203-7D2D-4F1C-A9C4-6C0C72696611}" srcOrd="0" destOrd="0" presId="urn:microsoft.com/office/officeart/2005/8/layout/hList1"/>
    <dgm:cxn modelId="{5B22C41B-B763-4E16-993B-5A74D2B8C5BE}" type="presOf" srcId="{1BBAA195-36D2-4E34-84EC-9E3A04726335}" destId="{BBC5908F-BAC2-4DBC-B8AF-E473AA6498EC}" srcOrd="0" destOrd="2" presId="urn:microsoft.com/office/officeart/2005/8/layout/hList1"/>
    <dgm:cxn modelId="{66E6462D-0C32-485C-A28B-B56B0B57654A}" type="presOf" srcId="{3CBD2432-43DB-42FB-9850-16991C722E6A}" destId="{6C142A8E-B617-4773-9B32-D2E7CDE681A1}" srcOrd="0" destOrd="0" presId="urn:microsoft.com/office/officeart/2005/8/layout/hList1"/>
    <dgm:cxn modelId="{58EDBA30-F555-4EBB-A0E9-1090D76C39F6}" type="presOf" srcId="{AD0349BB-6515-4C6B-97C2-0883B6627847}" destId="{6C142A8E-B617-4773-9B32-D2E7CDE681A1}" srcOrd="0" destOrd="6" presId="urn:microsoft.com/office/officeart/2005/8/layout/hList1"/>
    <dgm:cxn modelId="{6073973D-1462-4E63-8031-EAC6A82C9FF9}" srcId="{1F331D8E-0A95-437E-92FD-8700FCA0DBAB}" destId="{AD0349BB-6515-4C6B-97C2-0883B6627847}" srcOrd="6" destOrd="0" parTransId="{0D358220-A6A9-4D89-B69C-4B8D942F429D}" sibTransId="{EA75386F-B62F-42E1-A38B-10180BCB41B3}"/>
    <dgm:cxn modelId="{81509F62-4D93-464F-8854-D85BD2B00EC9}" type="presOf" srcId="{04B163F0-1250-44EE-A047-0B3A3211B5D9}" destId="{6C142A8E-B617-4773-9B32-D2E7CDE681A1}" srcOrd="0" destOrd="3" presId="urn:microsoft.com/office/officeart/2005/8/layout/hList1"/>
    <dgm:cxn modelId="{E5E6A642-19D7-4852-9347-61D2AEFCEB7D}" type="presOf" srcId="{A83C3381-1327-42CD-A4FA-09140C4B1962}" destId="{BBC5908F-BAC2-4DBC-B8AF-E473AA6498EC}" srcOrd="0" destOrd="4" presId="urn:microsoft.com/office/officeart/2005/8/layout/hList1"/>
    <dgm:cxn modelId="{F447AD43-17AB-4F10-8EA6-6963D13E9C1E}" srcId="{C403B484-0F0D-47AB-AF1F-7275E0E00358}" destId="{A83C3381-1327-42CD-A4FA-09140C4B1962}" srcOrd="4" destOrd="0" parTransId="{69C2FFB5-81AF-4EB4-B883-0E8608598858}" sibTransId="{473C1713-4505-472C-9C03-C2FB9CFB5982}"/>
    <dgm:cxn modelId="{5150C443-8993-407B-A5B3-FA543039AD12}" type="presOf" srcId="{C403B484-0F0D-47AB-AF1F-7275E0E00358}" destId="{20B1A99D-023B-4D61-8071-89B463272CCA}" srcOrd="0" destOrd="0" presId="urn:microsoft.com/office/officeart/2005/8/layout/hList1"/>
    <dgm:cxn modelId="{CB1A6F6B-886D-426C-A41C-54E31E244276}" srcId="{1F331D8E-0A95-437E-92FD-8700FCA0DBAB}" destId="{C9821443-EF91-4C5D-9EF6-28AD9DFCE0AC}" srcOrd="5" destOrd="0" parTransId="{7C5BA4F5-0137-4EC9-9B1D-530F832B3DAB}" sibTransId="{25FA27A0-13FF-405A-A6B2-9242411EF237}"/>
    <dgm:cxn modelId="{3216596D-6DA3-4A50-B8C0-BADC73C7F652}" type="presOf" srcId="{55350BE8-0018-45B0-BA83-DEFA5A35B469}" destId="{BBC5908F-BAC2-4DBC-B8AF-E473AA6498EC}" srcOrd="0" destOrd="5" presId="urn:microsoft.com/office/officeart/2005/8/layout/hList1"/>
    <dgm:cxn modelId="{8910E750-154B-4114-8049-BF8B64CB8D2C}" type="presOf" srcId="{8A997B60-3973-411C-878B-049360833217}" destId="{BBC5908F-BAC2-4DBC-B8AF-E473AA6498EC}" srcOrd="0" destOrd="0" presId="urn:microsoft.com/office/officeart/2005/8/layout/hList1"/>
    <dgm:cxn modelId="{8FA9D951-3F98-44AD-B2AE-4253B4A0DD38}" srcId="{31485CB9-7A7E-42D4-BAC5-BA4E4191BD98}" destId="{09D28A07-D75B-435D-870B-D10CA7664164}" srcOrd="1" destOrd="0" parTransId="{8F446DDB-4148-4B9E-BE5C-0F4C7178A0B6}" sibTransId="{36901A8A-EC7C-4BAD-894C-755136914888}"/>
    <dgm:cxn modelId="{6C6B2D72-D198-45EF-961F-459143AA881E}" srcId="{C403B484-0F0D-47AB-AF1F-7275E0E00358}" destId="{E2C28875-FAA5-4EAE-8048-DDA8C8B28952}" srcOrd="3" destOrd="0" parTransId="{270586BD-4FA4-48F1-8FFD-5D3EBE21BAA8}" sibTransId="{57190234-5750-41BD-B8F4-B25A02DA2A84}"/>
    <dgm:cxn modelId="{23581C55-8517-4BB6-A535-B1AED33249B7}" srcId="{1F331D8E-0A95-437E-92FD-8700FCA0DBAB}" destId="{C8A33BD8-2BA3-4E02-BD53-979283870BEF}" srcOrd="2" destOrd="0" parTransId="{B5FBCABA-9FD7-4FB0-97E9-6E6938F2E020}" sibTransId="{B79ABECA-5F21-4639-8F0C-B9CFE40059AA}"/>
    <dgm:cxn modelId="{1A44A575-8AD5-4BE6-A584-5B8E22219494}" srcId="{843B3C2E-C135-4C98-980B-8B46B1A2BBAA}" destId="{1F331D8E-0A95-437E-92FD-8700FCA0DBAB}" srcOrd="1" destOrd="0" parTransId="{1BBDA0C1-F4CF-43C8-A2D1-AAF4FBF2CE42}" sibTransId="{560EDF77-4BBA-4EDC-885E-82BCB0FB3F14}"/>
    <dgm:cxn modelId="{5B562378-6260-47DF-B92C-7AA1EB6A0AC5}" type="presOf" srcId="{5D6FF463-7993-4986-B406-D2EAC351BD6A}" destId="{5C43E96F-4834-4C4D-9B83-C2A4DE04D993}" srcOrd="0" destOrd="0" presId="urn:microsoft.com/office/officeart/2005/8/layout/hList1"/>
    <dgm:cxn modelId="{4539D75A-BA16-41DF-B651-937DEA4336ED}" srcId="{1F331D8E-0A95-437E-92FD-8700FCA0DBAB}" destId="{B6C58423-4FB8-400F-B5DE-374997F0D80B}" srcOrd="4" destOrd="0" parTransId="{E942E359-4646-4458-876D-A95D5169FB1E}" sibTransId="{55567AD2-4DE8-4C62-A69E-4AF5222AD3AC}"/>
    <dgm:cxn modelId="{40393683-80E8-4A6C-B02D-0D2153D27E80}" srcId="{C403B484-0F0D-47AB-AF1F-7275E0E00358}" destId="{3D6E18C7-1CA1-4322-A87D-03415AF1F719}" srcOrd="6" destOrd="0" parTransId="{C72EC7B5-29AC-452E-9946-EC49A6AEA325}" sibTransId="{9D35244C-69A9-49FC-B808-ED07761B6724}"/>
    <dgm:cxn modelId="{2ADF248A-968D-481D-9B8A-E233DAAA3B7A}" type="presOf" srcId="{D272B87A-7968-41AB-A757-F462EF66AB0F}" destId="{BBC5908F-BAC2-4DBC-B8AF-E473AA6498EC}" srcOrd="0" destOrd="7" presId="urn:microsoft.com/office/officeart/2005/8/layout/hList1"/>
    <dgm:cxn modelId="{10305D92-3EF1-4A3B-8FA3-6046182AF5D7}" srcId="{C403B484-0F0D-47AB-AF1F-7275E0E00358}" destId="{8A997B60-3973-411C-878B-049360833217}" srcOrd="0" destOrd="0" parTransId="{F500A468-7DF9-4170-B91E-D980B98C8611}" sibTransId="{AA0C9CD4-5269-4B6F-9B53-81A67C03FB0A}"/>
    <dgm:cxn modelId="{30B82FA2-6336-418B-85D8-41542488EBFA}" type="presOf" srcId="{31485CB9-7A7E-42D4-BAC5-BA4E4191BD98}" destId="{C00B3C34-FD1C-41B8-B8DA-2227268FD0E1}" srcOrd="0" destOrd="0" presId="urn:microsoft.com/office/officeart/2005/8/layout/hList1"/>
    <dgm:cxn modelId="{A267EEA3-C48F-4F45-A6D2-AECD4D48CAD3}" srcId="{843B3C2E-C135-4C98-980B-8B46B1A2BBAA}" destId="{31485CB9-7A7E-42D4-BAC5-BA4E4191BD98}" srcOrd="2" destOrd="0" parTransId="{B50EB7D9-3142-488C-8218-E4676B4D7960}" sibTransId="{32526471-A9B3-45AF-BD54-276341768900}"/>
    <dgm:cxn modelId="{AF17C1B0-46BD-47D1-A1E9-AA3ECDE09F29}" type="presOf" srcId="{3D6E18C7-1CA1-4322-A87D-03415AF1F719}" destId="{BBC5908F-BAC2-4DBC-B8AF-E473AA6498EC}" srcOrd="0" destOrd="6" presId="urn:microsoft.com/office/officeart/2005/8/layout/hList1"/>
    <dgm:cxn modelId="{7CB2BCC3-16B0-4A4C-B66E-573A681158D5}" type="presOf" srcId="{E2C28875-FAA5-4EAE-8048-DDA8C8B28952}" destId="{BBC5908F-BAC2-4DBC-B8AF-E473AA6498EC}" srcOrd="0" destOrd="3" presId="urn:microsoft.com/office/officeart/2005/8/layout/hList1"/>
    <dgm:cxn modelId="{65E468C4-0898-4C3A-9361-38CEE830D281}" srcId="{C403B484-0F0D-47AB-AF1F-7275E0E00358}" destId="{55350BE8-0018-45B0-BA83-DEFA5A35B469}" srcOrd="5" destOrd="0" parTransId="{A2ECBD2D-F11E-4422-9549-281D814EEAC6}" sibTransId="{A2F6A909-AB2A-43EF-8C2E-2C84301D721F}"/>
    <dgm:cxn modelId="{C46688C6-3A26-4CFF-ABCD-B0627DA55ECE}" srcId="{1F331D8E-0A95-437E-92FD-8700FCA0DBAB}" destId="{3CBD2432-43DB-42FB-9850-16991C722E6A}" srcOrd="0" destOrd="0" parTransId="{D16BDC63-7EBF-465A-9175-5DC531200213}" sibTransId="{241B150F-FA7B-4FD6-862E-EF5F8BBE5903}"/>
    <dgm:cxn modelId="{A14668CA-ADAE-42E2-9D11-0884CF9E6D33}" type="presOf" srcId="{B6C58423-4FB8-400F-B5DE-374997F0D80B}" destId="{6C142A8E-B617-4773-9B32-D2E7CDE681A1}" srcOrd="0" destOrd="4" presId="urn:microsoft.com/office/officeart/2005/8/layout/hList1"/>
    <dgm:cxn modelId="{76D9E1D6-0539-470D-9616-E748B0FFF9C2}" type="presOf" srcId="{54726F2A-53E5-405C-BF46-46D7C6ECA967}" destId="{BBC5908F-BAC2-4DBC-B8AF-E473AA6498EC}" srcOrd="0" destOrd="1" presId="urn:microsoft.com/office/officeart/2005/8/layout/hList1"/>
    <dgm:cxn modelId="{FB97F1D9-D30E-430A-8387-3BCF08D0A445}" srcId="{1F331D8E-0A95-437E-92FD-8700FCA0DBAB}" destId="{04B163F0-1250-44EE-A047-0B3A3211B5D9}" srcOrd="3" destOrd="0" parTransId="{5F8E4A43-7E93-44F1-B75F-9CE61F62DC5A}" sibTransId="{5DB27771-B8E0-4DD0-9545-346421EBAE16}"/>
    <dgm:cxn modelId="{4A58D8DA-2F2E-427F-AE9D-6E793364A59C}" srcId="{C403B484-0F0D-47AB-AF1F-7275E0E00358}" destId="{54726F2A-53E5-405C-BF46-46D7C6ECA967}" srcOrd="1" destOrd="0" parTransId="{2C37EB94-720C-467E-BDFA-F6B7B530708D}" sibTransId="{D627001E-C4A0-4025-9048-7C224E3EE67F}"/>
    <dgm:cxn modelId="{57C9CDDC-5FEA-4722-BA0B-E0EE641E21C6}" srcId="{C403B484-0F0D-47AB-AF1F-7275E0E00358}" destId="{D272B87A-7968-41AB-A757-F462EF66AB0F}" srcOrd="7" destOrd="0" parTransId="{DAEF94EF-781B-4567-B52C-67D783E28E8D}" sibTransId="{0C0BAD3A-A380-41F6-962F-CDF1C5A82F8A}"/>
    <dgm:cxn modelId="{34505DDF-B89A-41BC-BAE8-86C8946F4011}" srcId="{843B3C2E-C135-4C98-980B-8B46B1A2BBAA}" destId="{C403B484-0F0D-47AB-AF1F-7275E0E00358}" srcOrd="0" destOrd="0" parTransId="{E8D1C1DA-1A19-4A7C-8C86-926BF96C6C16}" sibTransId="{1C025D59-FDA6-4382-9E42-00DBD4581C45}"/>
    <dgm:cxn modelId="{B45CADE8-DDAF-45D8-BFA5-051E8C0BCEE5}" type="presOf" srcId="{F9A74C0E-039E-4656-97A6-86597ABFF734}" destId="{6C142A8E-B617-4773-9B32-D2E7CDE681A1}" srcOrd="0" destOrd="1" presId="urn:microsoft.com/office/officeart/2005/8/layout/hList1"/>
    <dgm:cxn modelId="{5738A8F5-BAEE-4498-9F6A-BB5B78BA5A43}" srcId="{31485CB9-7A7E-42D4-BAC5-BA4E4191BD98}" destId="{5D6FF463-7993-4986-B406-D2EAC351BD6A}" srcOrd="0" destOrd="0" parTransId="{C998A768-3CE8-43CD-BEC4-D05CCCBF6E6B}" sibTransId="{D3B0BDA3-20E5-4DDA-AC8B-66939A048F99}"/>
    <dgm:cxn modelId="{F54CEAF5-67E7-485E-B565-9F8D067CE4E2}" type="presOf" srcId="{843B3C2E-C135-4C98-980B-8B46B1A2BBAA}" destId="{B79BCC56-3CCD-4B8C-9EAC-29F3301BB827}" srcOrd="0" destOrd="0" presId="urn:microsoft.com/office/officeart/2005/8/layout/hList1"/>
    <dgm:cxn modelId="{9F2843F9-42B7-45B1-AADF-682BBB3A1FF0}" type="presOf" srcId="{09D28A07-D75B-435D-870B-D10CA7664164}" destId="{5C43E96F-4834-4C4D-9B83-C2A4DE04D993}" srcOrd="0" destOrd="1" presId="urn:microsoft.com/office/officeart/2005/8/layout/hList1"/>
    <dgm:cxn modelId="{22FED319-FD7E-4034-B118-D7A6A2A6E9AF}" type="presParOf" srcId="{B79BCC56-3CCD-4B8C-9EAC-29F3301BB827}" destId="{0F270129-5D59-4371-80C0-E7486A6AE781}" srcOrd="0" destOrd="0" presId="urn:microsoft.com/office/officeart/2005/8/layout/hList1"/>
    <dgm:cxn modelId="{6BFE2CD6-5DB9-455E-AA09-591DDDBA51EE}" type="presParOf" srcId="{0F270129-5D59-4371-80C0-E7486A6AE781}" destId="{20B1A99D-023B-4D61-8071-89B463272CCA}" srcOrd="0" destOrd="0" presId="urn:microsoft.com/office/officeart/2005/8/layout/hList1"/>
    <dgm:cxn modelId="{2A1D7746-A35B-401C-AC46-FBDAAE9CD736}" type="presParOf" srcId="{0F270129-5D59-4371-80C0-E7486A6AE781}" destId="{BBC5908F-BAC2-4DBC-B8AF-E473AA6498EC}" srcOrd="1" destOrd="0" presId="urn:microsoft.com/office/officeart/2005/8/layout/hList1"/>
    <dgm:cxn modelId="{3626DDC9-CCFA-466B-8A52-20B0E64F7E02}" type="presParOf" srcId="{B79BCC56-3CCD-4B8C-9EAC-29F3301BB827}" destId="{0D709FD9-EA91-406C-BA25-D49835C77148}" srcOrd="1" destOrd="0" presId="urn:microsoft.com/office/officeart/2005/8/layout/hList1"/>
    <dgm:cxn modelId="{417FC102-B30F-4053-BB07-28A643D06596}" type="presParOf" srcId="{B79BCC56-3CCD-4B8C-9EAC-29F3301BB827}" destId="{7BC70994-39A9-4BE7-AF1B-533A42D220BF}" srcOrd="2" destOrd="0" presId="urn:microsoft.com/office/officeart/2005/8/layout/hList1"/>
    <dgm:cxn modelId="{398DFDA4-3613-4FB3-814A-EEAC163CBE32}" type="presParOf" srcId="{7BC70994-39A9-4BE7-AF1B-533A42D220BF}" destId="{2288C203-7D2D-4F1C-A9C4-6C0C72696611}" srcOrd="0" destOrd="0" presId="urn:microsoft.com/office/officeart/2005/8/layout/hList1"/>
    <dgm:cxn modelId="{CBBC0164-1182-4D76-93B1-F10EA3066A26}" type="presParOf" srcId="{7BC70994-39A9-4BE7-AF1B-533A42D220BF}" destId="{6C142A8E-B617-4773-9B32-D2E7CDE681A1}" srcOrd="1" destOrd="0" presId="urn:microsoft.com/office/officeart/2005/8/layout/hList1"/>
    <dgm:cxn modelId="{383ADC43-5137-4BCE-9366-64395162798B}" type="presParOf" srcId="{B79BCC56-3CCD-4B8C-9EAC-29F3301BB827}" destId="{CCAB19DF-9B7E-4572-BF8F-73748A27461C}" srcOrd="3" destOrd="0" presId="urn:microsoft.com/office/officeart/2005/8/layout/hList1"/>
    <dgm:cxn modelId="{B446C8E2-DC4B-4D4D-8FDC-5E227C0315E6}" type="presParOf" srcId="{B79BCC56-3CCD-4B8C-9EAC-29F3301BB827}" destId="{BEE73793-B7B6-456A-A955-C12FCBF81C68}" srcOrd="4" destOrd="0" presId="urn:microsoft.com/office/officeart/2005/8/layout/hList1"/>
    <dgm:cxn modelId="{7C438DDE-03FB-4A75-B09A-5B0E3BED0286}" type="presParOf" srcId="{BEE73793-B7B6-456A-A955-C12FCBF81C68}" destId="{C00B3C34-FD1C-41B8-B8DA-2227268FD0E1}" srcOrd="0" destOrd="0" presId="urn:microsoft.com/office/officeart/2005/8/layout/hList1"/>
    <dgm:cxn modelId="{E015A80F-3DE4-4328-8C36-7FB499BE8157}" type="presParOf" srcId="{BEE73793-B7B6-456A-A955-C12FCBF81C68}" destId="{5C43E96F-4834-4C4D-9B83-C2A4DE04D993}"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E2395F5E-BF9E-451B-8865-DFEDA06E1C76}" type="doc">
      <dgm:prSet loTypeId="urn:microsoft.com/office/officeart/2005/8/layout/process1" loCatId="process" qsTypeId="urn:microsoft.com/office/officeart/2005/8/quickstyle/simple1" qsCatId="simple" csTypeId="urn:microsoft.com/office/officeart/2005/8/colors/accent1_1" csCatId="accent1" phldr="1"/>
      <dgm:spPr/>
      <dgm:t>
        <a:bodyPr/>
        <a:lstStyle/>
        <a:p>
          <a:endParaRPr lang="es-CL"/>
        </a:p>
      </dgm:t>
    </dgm:pt>
    <dgm:pt modelId="{37B07BA8-5DC2-403E-B4AF-4288BF3B4BA2}">
      <dgm:prSet phldrT="[Texto]"/>
      <dgm:spPr/>
      <dgm:t>
        <a:bodyPr/>
        <a:lstStyle/>
        <a:p>
          <a:r>
            <a:rPr lang="es-MX" dirty="0"/>
            <a:t>“Se entenderá que el equipo de salud comprende a las y los integrantes del equipo de atención de salud regulados en el Libro V del Código Sanitario. Asimismo, el equipo de salud comprende a toda persona que actúe como miembro de un equipo de personas que tiene la función de realizar algún tipo de atención o prestación vinculada al quehacer de salud. Lo anterior incluye a profesionales y no profesionales, tanto del área de la salud como de otras que tengan participación en el quehacer de salud, tales como, las y los </a:t>
          </a:r>
          <a:r>
            <a:rPr lang="es-MX" b="1" dirty="0"/>
            <a:t>trabajadores sociales</a:t>
          </a:r>
          <a:r>
            <a:rPr lang="es-MX" dirty="0"/>
            <a:t>, y personal administrativo.”</a:t>
          </a:r>
          <a:endParaRPr lang="es-CL" dirty="0"/>
        </a:p>
      </dgm:t>
    </dgm:pt>
    <dgm:pt modelId="{989C290A-FE36-45C5-8D44-AB139E03DA6C}" type="parTrans" cxnId="{13EA78A6-72D9-4F59-ADEB-83EC3C146F74}">
      <dgm:prSet/>
      <dgm:spPr/>
      <dgm:t>
        <a:bodyPr/>
        <a:lstStyle/>
        <a:p>
          <a:endParaRPr lang="es-CL"/>
        </a:p>
      </dgm:t>
    </dgm:pt>
    <dgm:pt modelId="{328C6B65-48FB-4D5D-AAC3-9BFB8D891902}" type="sibTrans" cxnId="{13EA78A6-72D9-4F59-ADEB-83EC3C146F74}">
      <dgm:prSet/>
      <dgm:spPr/>
      <dgm:t>
        <a:bodyPr/>
        <a:lstStyle/>
        <a:p>
          <a:endParaRPr lang="es-CL"/>
        </a:p>
      </dgm:t>
    </dgm:pt>
    <dgm:pt modelId="{578A3898-5A7A-443F-96DE-AD95BFB785B0}" type="pres">
      <dgm:prSet presAssocID="{E2395F5E-BF9E-451B-8865-DFEDA06E1C76}" presName="Name0" presStyleCnt="0">
        <dgm:presLayoutVars>
          <dgm:dir/>
          <dgm:resizeHandles val="exact"/>
        </dgm:presLayoutVars>
      </dgm:prSet>
      <dgm:spPr/>
    </dgm:pt>
    <dgm:pt modelId="{EFE4794C-6DB5-4849-9950-22C233B501F5}" type="pres">
      <dgm:prSet presAssocID="{37B07BA8-5DC2-403E-B4AF-4288BF3B4BA2}" presName="node" presStyleLbl="node1" presStyleIdx="0" presStyleCnt="1" custScaleY="45836" custLinFactNeighborY="8621">
        <dgm:presLayoutVars>
          <dgm:bulletEnabled val="1"/>
        </dgm:presLayoutVars>
      </dgm:prSet>
      <dgm:spPr/>
    </dgm:pt>
  </dgm:ptLst>
  <dgm:cxnLst>
    <dgm:cxn modelId="{C0460202-0895-4BA7-9305-B598403A0392}" type="presOf" srcId="{E2395F5E-BF9E-451B-8865-DFEDA06E1C76}" destId="{578A3898-5A7A-443F-96DE-AD95BFB785B0}" srcOrd="0" destOrd="0" presId="urn:microsoft.com/office/officeart/2005/8/layout/process1"/>
    <dgm:cxn modelId="{13EA78A6-72D9-4F59-ADEB-83EC3C146F74}" srcId="{E2395F5E-BF9E-451B-8865-DFEDA06E1C76}" destId="{37B07BA8-5DC2-403E-B4AF-4288BF3B4BA2}" srcOrd="0" destOrd="0" parTransId="{989C290A-FE36-45C5-8D44-AB139E03DA6C}" sibTransId="{328C6B65-48FB-4D5D-AAC3-9BFB8D891902}"/>
    <dgm:cxn modelId="{2EB37FFA-C058-4017-AC21-E04A87F6CE4B}" type="presOf" srcId="{37B07BA8-5DC2-403E-B4AF-4288BF3B4BA2}" destId="{EFE4794C-6DB5-4849-9950-22C233B501F5}" srcOrd="0" destOrd="0" presId="urn:microsoft.com/office/officeart/2005/8/layout/process1"/>
    <dgm:cxn modelId="{AB92F167-01E7-4095-86F9-E75DFA398ADE}" type="presParOf" srcId="{578A3898-5A7A-443F-96DE-AD95BFB785B0}" destId="{EFE4794C-6DB5-4849-9950-22C233B501F5}"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E2395F5E-BF9E-451B-8865-DFEDA06E1C76}" type="doc">
      <dgm:prSet loTypeId="urn:microsoft.com/office/officeart/2005/8/layout/process1" loCatId="process" qsTypeId="urn:microsoft.com/office/officeart/2005/8/quickstyle/simple1" qsCatId="simple" csTypeId="urn:microsoft.com/office/officeart/2005/8/colors/accent1_1" csCatId="accent1" phldr="1"/>
      <dgm:spPr/>
      <dgm:t>
        <a:bodyPr/>
        <a:lstStyle/>
        <a:p>
          <a:endParaRPr lang="es-CL"/>
        </a:p>
      </dgm:t>
    </dgm:pt>
    <dgm:pt modelId="{37B07BA8-5DC2-403E-B4AF-4288BF3B4BA2}">
      <dgm:prSet phldrT="[Texto]"/>
      <dgm:spPr/>
      <dgm:t>
        <a:bodyPr/>
        <a:lstStyle/>
        <a:p>
          <a:pPr algn="l"/>
          <a:r>
            <a:rPr lang="es-MX" dirty="0"/>
            <a:t>1. Actualizar el decreto N°16, de 2007, que aprueba el reglamento sobre los registros relativos a los Prestadores Individuales de Salud, o el que lo reemplace.</a:t>
          </a:r>
        </a:p>
        <a:p>
          <a:pPr algn="l"/>
          <a:endParaRPr lang="es-CL" dirty="0"/>
        </a:p>
        <a:p>
          <a:pPr algn="l"/>
          <a:r>
            <a:rPr lang="es-MX" dirty="0"/>
            <a:t>2. Dictar el decreto supremo al que hace referencia el inciso tercero del artículo 113°.</a:t>
          </a:r>
          <a:endParaRPr lang="es-CL" dirty="0"/>
        </a:p>
        <a:p>
          <a:pPr algn="l"/>
          <a:endParaRPr lang="es-CL" dirty="0"/>
        </a:p>
        <a:p>
          <a:pPr algn="l"/>
          <a:r>
            <a:rPr lang="es-MX" dirty="0"/>
            <a:t>3. Actualizar los reglamentos aludidos en el inciso cuarto del artículo 113.</a:t>
          </a:r>
          <a:endParaRPr lang="es-CL" dirty="0"/>
        </a:p>
        <a:p>
          <a:pPr algn="l"/>
          <a:endParaRPr lang="es-CL" dirty="0"/>
        </a:p>
        <a:p>
          <a:pPr algn="l"/>
          <a:r>
            <a:rPr lang="es-MX" dirty="0"/>
            <a:t>4. Dictar los reglamentos mencionados en los artículos 114º E, 117, 118, 120 y 120 ter del Código Sanitario, introducidos por la presente ley.</a:t>
          </a:r>
          <a:endParaRPr lang="es-CL" dirty="0"/>
        </a:p>
      </dgm:t>
    </dgm:pt>
    <dgm:pt modelId="{989C290A-FE36-45C5-8D44-AB139E03DA6C}" type="parTrans" cxnId="{13EA78A6-72D9-4F59-ADEB-83EC3C146F74}">
      <dgm:prSet/>
      <dgm:spPr/>
      <dgm:t>
        <a:bodyPr/>
        <a:lstStyle/>
        <a:p>
          <a:endParaRPr lang="es-CL"/>
        </a:p>
      </dgm:t>
    </dgm:pt>
    <dgm:pt modelId="{328C6B65-48FB-4D5D-AAC3-9BFB8D891902}" type="sibTrans" cxnId="{13EA78A6-72D9-4F59-ADEB-83EC3C146F74}">
      <dgm:prSet/>
      <dgm:spPr/>
      <dgm:t>
        <a:bodyPr/>
        <a:lstStyle/>
        <a:p>
          <a:endParaRPr lang="es-CL"/>
        </a:p>
      </dgm:t>
    </dgm:pt>
    <dgm:pt modelId="{578A3898-5A7A-443F-96DE-AD95BFB785B0}" type="pres">
      <dgm:prSet presAssocID="{E2395F5E-BF9E-451B-8865-DFEDA06E1C76}" presName="Name0" presStyleCnt="0">
        <dgm:presLayoutVars>
          <dgm:dir/>
          <dgm:resizeHandles val="exact"/>
        </dgm:presLayoutVars>
      </dgm:prSet>
      <dgm:spPr/>
    </dgm:pt>
    <dgm:pt modelId="{EFE4794C-6DB5-4849-9950-22C233B501F5}" type="pres">
      <dgm:prSet presAssocID="{37B07BA8-5DC2-403E-B4AF-4288BF3B4BA2}" presName="node" presStyleLbl="node1" presStyleIdx="0" presStyleCnt="1" custScaleY="57250" custLinFactNeighborY="8621">
        <dgm:presLayoutVars>
          <dgm:bulletEnabled val="1"/>
        </dgm:presLayoutVars>
      </dgm:prSet>
      <dgm:spPr/>
    </dgm:pt>
  </dgm:ptLst>
  <dgm:cxnLst>
    <dgm:cxn modelId="{C0460202-0895-4BA7-9305-B598403A0392}" type="presOf" srcId="{E2395F5E-BF9E-451B-8865-DFEDA06E1C76}" destId="{578A3898-5A7A-443F-96DE-AD95BFB785B0}" srcOrd="0" destOrd="0" presId="urn:microsoft.com/office/officeart/2005/8/layout/process1"/>
    <dgm:cxn modelId="{13EA78A6-72D9-4F59-ADEB-83EC3C146F74}" srcId="{E2395F5E-BF9E-451B-8865-DFEDA06E1C76}" destId="{37B07BA8-5DC2-403E-B4AF-4288BF3B4BA2}" srcOrd="0" destOrd="0" parTransId="{989C290A-FE36-45C5-8D44-AB139E03DA6C}" sibTransId="{328C6B65-48FB-4D5D-AAC3-9BFB8D891902}"/>
    <dgm:cxn modelId="{2EB37FFA-C058-4017-AC21-E04A87F6CE4B}" type="presOf" srcId="{37B07BA8-5DC2-403E-B4AF-4288BF3B4BA2}" destId="{EFE4794C-6DB5-4849-9950-22C233B501F5}" srcOrd="0" destOrd="0" presId="urn:microsoft.com/office/officeart/2005/8/layout/process1"/>
    <dgm:cxn modelId="{AB92F167-01E7-4095-86F9-E75DFA398ADE}" type="presParOf" srcId="{578A3898-5A7A-443F-96DE-AD95BFB785B0}" destId="{EFE4794C-6DB5-4849-9950-22C233B501F5}"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E2395F5E-BF9E-451B-8865-DFEDA06E1C76}" type="doc">
      <dgm:prSet loTypeId="urn:microsoft.com/office/officeart/2005/8/layout/process1" loCatId="process" qsTypeId="urn:microsoft.com/office/officeart/2005/8/quickstyle/simple1" qsCatId="simple" csTypeId="urn:microsoft.com/office/officeart/2005/8/colors/accent1_1" csCatId="accent1" phldr="1"/>
      <dgm:spPr/>
      <dgm:t>
        <a:bodyPr/>
        <a:lstStyle/>
        <a:p>
          <a:endParaRPr lang="es-CL"/>
        </a:p>
      </dgm:t>
    </dgm:pt>
    <dgm:pt modelId="{37B07BA8-5DC2-403E-B4AF-4288BF3B4BA2}">
      <dgm:prSet phldrT="[Texto]" custT="1"/>
      <dgm:spPr/>
      <dgm:t>
        <a:bodyPr/>
        <a:lstStyle/>
        <a:p>
          <a:pPr algn="ctr"/>
          <a:r>
            <a:rPr lang="es-MX" sz="3200" dirty="0"/>
            <a:t>A contar de la fecha de publicación de la presente ley, el Ministerio de Salud deberá dejar sin efecto el Decreto Supremo </a:t>
          </a:r>
          <a:r>
            <a:rPr lang="es-MX" sz="3200" dirty="0" err="1"/>
            <a:t>N°</a:t>
          </a:r>
          <a:r>
            <a:rPr lang="es-MX" sz="3200" dirty="0"/>
            <a:t> 1082, de 8 de noviembre de 1958, del Ministerio de Salud, que aprueba el reglamento sobre el ejercicio de la profesión de kinesiólogo.</a:t>
          </a:r>
          <a:endParaRPr lang="es-CL" sz="3200" dirty="0"/>
        </a:p>
      </dgm:t>
    </dgm:pt>
    <dgm:pt modelId="{989C290A-FE36-45C5-8D44-AB139E03DA6C}" type="parTrans" cxnId="{13EA78A6-72D9-4F59-ADEB-83EC3C146F74}">
      <dgm:prSet/>
      <dgm:spPr/>
      <dgm:t>
        <a:bodyPr/>
        <a:lstStyle/>
        <a:p>
          <a:endParaRPr lang="es-CL"/>
        </a:p>
      </dgm:t>
    </dgm:pt>
    <dgm:pt modelId="{328C6B65-48FB-4D5D-AAC3-9BFB8D891902}" type="sibTrans" cxnId="{13EA78A6-72D9-4F59-ADEB-83EC3C146F74}">
      <dgm:prSet/>
      <dgm:spPr/>
      <dgm:t>
        <a:bodyPr/>
        <a:lstStyle/>
        <a:p>
          <a:endParaRPr lang="es-CL"/>
        </a:p>
      </dgm:t>
    </dgm:pt>
    <dgm:pt modelId="{578A3898-5A7A-443F-96DE-AD95BFB785B0}" type="pres">
      <dgm:prSet presAssocID="{E2395F5E-BF9E-451B-8865-DFEDA06E1C76}" presName="Name0" presStyleCnt="0">
        <dgm:presLayoutVars>
          <dgm:dir/>
          <dgm:resizeHandles val="exact"/>
        </dgm:presLayoutVars>
      </dgm:prSet>
      <dgm:spPr/>
    </dgm:pt>
    <dgm:pt modelId="{EFE4794C-6DB5-4849-9950-22C233B501F5}" type="pres">
      <dgm:prSet presAssocID="{37B07BA8-5DC2-403E-B4AF-4288BF3B4BA2}" presName="node" presStyleLbl="node1" presStyleIdx="0" presStyleCnt="1" custScaleY="57250" custLinFactNeighborY="3672">
        <dgm:presLayoutVars>
          <dgm:bulletEnabled val="1"/>
        </dgm:presLayoutVars>
      </dgm:prSet>
      <dgm:spPr/>
    </dgm:pt>
  </dgm:ptLst>
  <dgm:cxnLst>
    <dgm:cxn modelId="{C0460202-0895-4BA7-9305-B598403A0392}" type="presOf" srcId="{E2395F5E-BF9E-451B-8865-DFEDA06E1C76}" destId="{578A3898-5A7A-443F-96DE-AD95BFB785B0}" srcOrd="0" destOrd="0" presId="urn:microsoft.com/office/officeart/2005/8/layout/process1"/>
    <dgm:cxn modelId="{13EA78A6-72D9-4F59-ADEB-83EC3C146F74}" srcId="{E2395F5E-BF9E-451B-8865-DFEDA06E1C76}" destId="{37B07BA8-5DC2-403E-B4AF-4288BF3B4BA2}" srcOrd="0" destOrd="0" parTransId="{989C290A-FE36-45C5-8D44-AB139E03DA6C}" sibTransId="{328C6B65-48FB-4D5D-AAC3-9BFB8D891902}"/>
    <dgm:cxn modelId="{2EB37FFA-C058-4017-AC21-E04A87F6CE4B}" type="presOf" srcId="{37B07BA8-5DC2-403E-B4AF-4288BF3B4BA2}" destId="{EFE4794C-6DB5-4849-9950-22C233B501F5}" srcOrd="0" destOrd="0" presId="urn:microsoft.com/office/officeart/2005/8/layout/process1"/>
    <dgm:cxn modelId="{AB92F167-01E7-4095-86F9-E75DFA398ADE}" type="presParOf" srcId="{578A3898-5A7A-443F-96DE-AD95BFB785B0}" destId="{EFE4794C-6DB5-4849-9950-22C233B501F5}"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DAF32C-7D46-41C2-AD0D-FCB3F6DB0EB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s-ES"/>
        </a:p>
      </dgm:t>
    </dgm:pt>
    <dgm:pt modelId="{3DD32A7B-C4CB-4937-A995-44C83CEB9C9B}">
      <dgm:prSet phldrT="[Texto]" custT="1"/>
      <dgm:spPr/>
      <dgm:t>
        <a:bodyPr/>
        <a:lstStyle/>
        <a:p>
          <a:r>
            <a:rPr lang="es-ES" sz="2000" dirty="0"/>
            <a:t>Tuición ética</a:t>
          </a:r>
        </a:p>
      </dgm:t>
    </dgm:pt>
    <dgm:pt modelId="{8B6D0825-A01B-45CB-82CD-AB2799B8DEF9}" type="parTrans" cxnId="{7FB23257-71E3-44DB-A39A-7E56EB5D1E30}">
      <dgm:prSet/>
      <dgm:spPr/>
      <dgm:t>
        <a:bodyPr/>
        <a:lstStyle/>
        <a:p>
          <a:endParaRPr lang="es-ES" sz="2000"/>
        </a:p>
      </dgm:t>
    </dgm:pt>
    <dgm:pt modelId="{1C7E7F9C-1D51-41DD-866C-7DB379D86133}" type="sibTrans" cxnId="{7FB23257-71E3-44DB-A39A-7E56EB5D1E30}">
      <dgm:prSet/>
      <dgm:spPr/>
      <dgm:t>
        <a:bodyPr/>
        <a:lstStyle/>
        <a:p>
          <a:endParaRPr lang="es-ES" sz="2000"/>
        </a:p>
      </dgm:t>
    </dgm:pt>
    <dgm:pt modelId="{8E948585-5EB8-4EDA-89D9-505E3E26394C}">
      <dgm:prSet phldrT="[Texto]" custT="1"/>
      <dgm:spPr/>
      <dgm:t>
        <a:bodyPr/>
        <a:lstStyle/>
        <a:p>
          <a:r>
            <a:rPr lang="es-ES" sz="2000" dirty="0"/>
            <a:t>Exclusividad Universitaria</a:t>
          </a:r>
        </a:p>
      </dgm:t>
    </dgm:pt>
    <dgm:pt modelId="{78F8D340-9893-41D3-A252-181765E978AA}" type="parTrans" cxnId="{23E50185-0C7B-4AFF-BB56-44D91E4A1D5F}">
      <dgm:prSet/>
      <dgm:spPr/>
      <dgm:t>
        <a:bodyPr/>
        <a:lstStyle/>
        <a:p>
          <a:endParaRPr lang="es-ES" sz="2000"/>
        </a:p>
      </dgm:t>
    </dgm:pt>
    <dgm:pt modelId="{1B30E2EF-974F-48B5-BEDB-5556618AADF8}" type="sibTrans" cxnId="{23E50185-0C7B-4AFF-BB56-44D91E4A1D5F}">
      <dgm:prSet/>
      <dgm:spPr/>
      <dgm:t>
        <a:bodyPr/>
        <a:lstStyle/>
        <a:p>
          <a:endParaRPr lang="es-ES" sz="2000"/>
        </a:p>
      </dgm:t>
    </dgm:pt>
    <dgm:pt modelId="{64891C57-ACF3-4C76-B8DE-9889C97DAA7E}">
      <dgm:prSet phldrT="[Texto]" custT="1"/>
      <dgm:spPr/>
      <dgm:t>
        <a:bodyPr/>
        <a:lstStyle/>
        <a:p>
          <a:r>
            <a:rPr lang="es-ES" sz="2000" dirty="0"/>
            <a:t>Medicinas Complementarias (se reconocen como auxiliares D.S. N°42)</a:t>
          </a:r>
        </a:p>
      </dgm:t>
    </dgm:pt>
    <dgm:pt modelId="{AD8BD9DF-D942-4598-BCE2-0B9DB19DB3C7}" type="parTrans" cxnId="{3091CAC4-9AA7-4551-8F7F-148E862AA8B8}">
      <dgm:prSet/>
      <dgm:spPr/>
      <dgm:t>
        <a:bodyPr/>
        <a:lstStyle/>
        <a:p>
          <a:endParaRPr lang="es-ES" sz="2000"/>
        </a:p>
      </dgm:t>
    </dgm:pt>
    <dgm:pt modelId="{C683A40E-61D0-4F68-BB51-2C2988C5A92D}" type="sibTrans" cxnId="{3091CAC4-9AA7-4551-8F7F-148E862AA8B8}">
      <dgm:prSet/>
      <dgm:spPr/>
      <dgm:t>
        <a:bodyPr/>
        <a:lstStyle/>
        <a:p>
          <a:endParaRPr lang="es-ES" sz="2000"/>
        </a:p>
      </dgm:t>
    </dgm:pt>
    <dgm:pt modelId="{3F1230B6-06D9-4D7C-87CD-A6139B8E610F}">
      <dgm:prSet phldrT="[Texto]" custT="1"/>
      <dgm:spPr/>
      <dgm:t>
        <a:bodyPr/>
        <a:lstStyle/>
        <a:p>
          <a:r>
            <a:rPr lang="es-ES" sz="2000" dirty="0"/>
            <a:t>Psicopedagogos</a:t>
          </a:r>
        </a:p>
        <a:p>
          <a:r>
            <a:rPr lang="es-ES" sz="2000" dirty="0"/>
            <a:t>Quiroprácticos</a:t>
          </a:r>
        </a:p>
        <a:p>
          <a:r>
            <a:rPr lang="es-ES" sz="2000" dirty="0"/>
            <a:t>Físico Médicos</a:t>
          </a:r>
        </a:p>
      </dgm:t>
    </dgm:pt>
    <dgm:pt modelId="{2D37437C-E815-49F5-B119-7D0CF92A664F}" type="parTrans" cxnId="{36C9DC47-CE61-48DB-B964-9383148F3136}">
      <dgm:prSet/>
      <dgm:spPr/>
      <dgm:t>
        <a:bodyPr/>
        <a:lstStyle/>
        <a:p>
          <a:endParaRPr lang="es-ES" sz="2000"/>
        </a:p>
      </dgm:t>
    </dgm:pt>
    <dgm:pt modelId="{6D9FF625-AC1D-423B-9117-7361B2D44037}" type="sibTrans" cxnId="{36C9DC47-CE61-48DB-B964-9383148F3136}">
      <dgm:prSet/>
      <dgm:spPr/>
      <dgm:t>
        <a:bodyPr/>
        <a:lstStyle/>
        <a:p>
          <a:endParaRPr lang="es-ES" sz="2000"/>
        </a:p>
      </dgm:t>
    </dgm:pt>
    <dgm:pt modelId="{529BE8F9-B93F-4130-A647-28FC7F719C18}">
      <dgm:prSet custT="1"/>
      <dgm:spPr/>
      <dgm:t>
        <a:bodyPr/>
        <a:lstStyle/>
        <a:p>
          <a:r>
            <a:rPr lang="es-ES" sz="2000" dirty="0"/>
            <a:t>NO CONLLEVA COMPROMISOS REMUNERACIONALES O DE ARANCEL FONASA</a:t>
          </a:r>
        </a:p>
      </dgm:t>
    </dgm:pt>
    <dgm:pt modelId="{5B9DBCFC-3873-4FB7-A346-F221AB55EACC}" type="parTrans" cxnId="{C3FF04B2-1B08-43A3-B1A5-45668E48BB38}">
      <dgm:prSet/>
      <dgm:spPr/>
      <dgm:t>
        <a:bodyPr/>
        <a:lstStyle/>
        <a:p>
          <a:endParaRPr lang="es-ES" sz="2000"/>
        </a:p>
      </dgm:t>
    </dgm:pt>
    <dgm:pt modelId="{C20F0D5C-8C08-4A01-B9AD-B850883712A0}" type="sibTrans" cxnId="{C3FF04B2-1B08-43A3-B1A5-45668E48BB38}">
      <dgm:prSet/>
      <dgm:spPr/>
      <dgm:t>
        <a:bodyPr/>
        <a:lstStyle/>
        <a:p>
          <a:endParaRPr lang="es-ES" sz="2000"/>
        </a:p>
      </dgm:t>
    </dgm:pt>
    <dgm:pt modelId="{83E38994-3237-4C64-A2EA-0297A5547165}">
      <dgm:prSet phldrT="[Texto]" custT="1"/>
      <dgm:spPr/>
      <dgm:t>
        <a:bodyPr/>
        <a:lstStyle/>
        <a:p>
          <a:r>
            <a:rPr lang="es-ES" sz="2000" dirty="0"/>
            <a:t>Trabajadores Sociales</a:t>
          </a:r>
        </a:p>
      </dgm:t>
    </dgm:pt>
    <dgm:pt modelId="{FC7CEFEC-1E0F-4FD4-BA47-E93BEF476F08}" type="sibTrans" cxnId="{61C18D6E-024D-401F-A3C0-F30551EEF871}">
      <dgm:prSet/>
      <dgm:spPr/>
      <dgm:t>
        <a:bodyPr/>
        <a:lstStyle/>
        <a:p>
          <a:endParaRPr lang="es-ES" sz="2000"/>
        </a:p>
      </dgm:t>
    </dgm:pt>
    <dgm:pt modelId="{1A68E560-66C4-46CA-B847-D6629CB1C819}" type="parTrans" cxnId="{61C18D6E-024D-401F-A3C0-F30551EEF871}">
      <dgm:prSet/>
      <dgm:spPr/>
      <dgm:t>
        <a:bodyPr/>
        <a:lstStyle/>
        <a:p>
          <a:endParaRPr lang="es-ES" sz="2000"/>
        </a:p>
      </dgm:t>
    </dgm:pt>
    <dgm:pt modelId="{FABF6EAD-2B4F-4A8A-9156-5F480FC9DCAD}" type="pres">
      <dgm:prSet presAssocID="{1BDAF32C-7D46-41C2-AD0D-FCB3F6DB0EB4}" presName="diagram" presStyleCnt="0">
        <dgm:presLayoutVars>
          <dgm:dir/>
          <dgm:resizeHandles val="exact"/>
        </dgm:presLayoutVars>
      </dgm:prSet>
      <dgm:spPr/>
    </dgm:pt>
    <dgm:pt modelId="{7789F461-C3D2-40E2-8D0C-F6673DBA2E56}" type="pres">
      <dgm:prSet presAssocID="{3DD32A7B-C4CB-4937-A995-44C83CEB9C9B}" presName="node" presStyleLbl="node1" presStyleIdx="0" presStyleCnt="6">
        <dgm:presLayoutVars>
          <dgm:bulletEnabled val="1"/>
        </dgm:presLayoutVars>
      </dgm:prSet>
      <dgm:spPr/>
    </dgm:pt>
    <dgm:pt modelId="{D4B4EE8F-553E-4EB5-AC8C-5EEF7592A897}" type="pres">
      <dgm:prSet presAssocID="{1C7E7F9C-1D51-41DD-866C-7DB379D86133}" presName="sibTrans" presStyleCnt="0"/>
      <dgm:spPr/>
    </dgm:pt>
    <dgm:pt modelId="{7AEDB14C-4126-4A52-8E09-F49897C2A5D0}" type="pres">
      <dgm:prSet presAssocID="{8E948585-5EB8-4EDA-89D9-505E3E26394C}" presName="node" presStyleLbl="node1" presStyleIdx="1" presStyleCnt="6">
        <dgm:presLayoutVars>
          <dgm:bulletEnabled val="1"/>
        </dgm:presLayoutVars>
      </dgm:prSet>
      <dgm:spPr/>
    </dgm:pt>
    <dgm:pt modelId="{4770EBF9-F347-4E20-9E00-78ED0896951D}" type="pres">
      <dgm:prSet presAssocID="{1B30E2EF-974F-48B5-BEDB-5556618AADF8}" presName="sibTrans" presStyleCnt="0"/>
      <dgm:spPr/>
    </dgm:pt>
    <dgm:pt modelId="{4549198D-A534-4FFF-93ED-013E60E38AEB}" type="pres">
      <dgm:prSet presAssocID="{64891C57-ACF3-4C76-B8DE-9889C97DAA7E}" presName="node" presStyleLbl="node1" presStyleIdx="2" presStyleCnt="6">
        <dgm:presLayoutVars>
          <dgm:bulletEnabled val="1"/>
        </dgm:presLayoutVars>
      </dgm:prSet>
      <dgm:spPr/>
    </dgm:pt>
    <dgm:pt modelId="{D32329DC-0603-4FD3-AB89-75D20237E11E}" type="pres">
      <dgm:prSet presAssocID="{C683A40E-61D0-4F68-BB51-2C2988C5A92D}" presName="sibTrans" presStyleCnt="0"/>
      <dgm:spPr/>
    </dgm:pt>
    <dgm:pt modelId="{2C9CC21C-4BBF-4FB4-B0AF-CD6E68A4147D}" type="pres">
      <dgm:prSet presAssocID="{83E38994-3237-4C64-A2EA-0297A5547165}" presName="node" presStyleLbl="node1" presStyleIdx="3" presStyleCnt="6">
        <dgm:presLayoutVars>
          <dgm:bulletEnabled val="1"/>
        </dgm:presLayoutVars>
      </dgm:prSet>
      <dgm:spPr/>
    </dgm:pt>
    <dgm:pt modelId="{1C518678-5DF7-436A-8BB7-199E111C193F}" type="pres">
      <dgm:prSet presAssocID="{FC7CEFEC-1E0F-4FD4-BA47-E93BEF476F08}" presName="sibTrans" presStyleCnt="0"/>
      <dgm:spPr/>
    </dgm:pt>
    <dgm:pt modelId="{A56F5685-E37D-4E75-9E81-1D4A6D2DBE04}" type="pres">
      <dgm:prSet presAssocID="{3F1230B6-06D9-4D7C-87CD-A6139B8E610F}" presName="node" presStyleLbl="node1" presStyleIdx="4" presStyleCnt="6">
        <dgm:presLayoutVars>
          <dgm:bulletEnabled val="1"/>
        </dgm:presLayoutVars>
      </dgm:prSet>
      <dgm:spPr/>
    </dgm:pt>
    <dgm:pt modelId="{5BAFE10A-31A8-499C-9207-3ADA7BF3C242}" type="pres">
      <dgm:prSet presAssocID="{6D9FF625-AC1D-423B-9117-7361B2D44037}" presName="sibTrans" presStyleCnt="0"/>
      <dgm:spPr/>
    </dgm:pt>
    <dgm:pt modelId="{CEDFAA68-DA0A-4F22-B71E-FA1EB58DB060}" type="pres">
      <dgm:prSet presAssocID="{529BE8F9-B93F-4130-A647-28FC7F719C18}" presName="node" presStyleLbl="node1" presStyleIdx="5" presStyleCnt="6">
        <dgm:presLayoutVars>
          <dgm:bulletEnabled val="1"/>
        </dgm:presLayoutVars>
      </dgm:prSet>
      <dgm:spPr/>
    </dgm:pt>
  </dgm:ptLst>
  <dgm:cxnLst>
    <dgm:cxn modelId="{5FD6E812-E268-4BD3-8723-033031A00B17}" type="presOf" srcId="{83E38994-3237-4C64-A2EA-0297A5547165}" destId="{2C9CC21C-4BBF-4FB4-B0AF-CD6E68A4147D}" srcOrd="0" destOrd="0" presId="urn:microsoft.com/office/officeart/2005/8/layout/default"/>
    <dgm:cxn modelId="{36C9DC47-CE61-48DB-B964-9383148F3136}" srcId="{1BDAF32C-7D46-41C2-AD0D-FCB3F6DB0EB4}" destId="{3F1230B6-06D9-4D7C-87CD-A6139B8E610F}" srcOrd="4" destOrd="0" parTransId="{2D37437C-E815-49F5-B119-7D0CF92A664F}" sibTransId="{6D9FF625-AC1D-423B-9117-7361B2D44037}"/>
    <dgm:cxn modelId="{61C18D6E-024D-401F-A3C0-F30551EEF871}" srcId="{1BDAF32C-7D46-41C2-AD0D-FCB3F6DB0EB4}" destId="{83E38994-3237-4C64-A2EA-0297A5547165}" srcOrd="3" destOrd="0" parTransId="{1A68E560-66C4-46CA-B847-D6629CB1C819}" sibTransId="{FC7CEFEC-1E0F-4FD4-BA47-E93BEF476F08}"/>
    <dgm:cxn modelId="{F753C76F-10EB-4B66-9074-0C227B4BAC0F}" type="presOf" srcId="{529BE8F9-B93F-4130-A647-28FC7F719C18}" destId="{CEDFAA68-DA0A-4F22-B71E-FA1EB58DB060}" srcOrd="0" destOrd="0" presId="urn:microsoft.com/office/officeart/2005/8/layout/default"/>
    <dgm:cxn modelId="{FBA87D71-CCCD-4018-966F-1AD89574C4EB}" type="presOf" srcId="{3DD32A7B-C4CB-4937-A995-44C83CEB9C9B}" destId="{7789F461-C3D2-40E2-8D0C-F6673DBA2E56}" srcOrd="0" destOrd="0" presId="urn:microsoft.com/office/officeart/2005/8/layout/default"/>
    <dgm:cxn modelId="{7FB23257-71E3-44DB-A39A-7E56EB5D1E30}" srcId="{1BDAF32C-7D46-41C2-AD0D-FCB3F6DB0EB4}" destId="{3DD32A7B-C4CB-4937-A995-44C83CEB9C9B}" srcOrd="0" destOrd="0" parTransId="{8B6D0825-A01B-45CB-82CD-AB2799B8DEF9}" sibTransId="{1C7E7F9C-1D51-41DD-866C-7DB379D86133}"/>
    <dgm:cxn modelId="{23E50185-0C7B-4AFF-BB56-44D91E4A1D5F}" srcId="{1BDAF32C-7D46-41C2-AD0D-FCB3F6DB0EB4}" destId="{8E948585-5EB8-4EDA-89D9-505E3E26394C}" srcOrd="1" destOrd="0" parTransId="{78F8D340-9893-41D3-A252-181765E978AA}" sibTransId="{1B30E2EF-974F-48B5-BEDB-5556618AADF8}"/>
    <dgm:cxn modelId="{A0C0F9A3-227C-4092-8340-90B13583F739}" type="presOf" srcId="{1BDAF32C-7D46-41C2-AD0D-FCB3F6DB0EB4}" destId="{FABF6EAD-2B4F-4A8A-9156-5F480FC9DCAD}" srcOrd="0" destOrd="0" presId="urn:microsoft.com/office/officeart/2005/8/layout/default"/>
    <dgm:cxn modelId="{C3FF04B2-1B08-43A3-B1A5-45668E48BB38}" srcId="{1BDAF32C-7D46-41C2-AD0D-FCB3F6DB0EB4}" destId="{529BE8F9-B93F-4130-A647-28FC7F719C18}" srcOrd="5" destOrd="0" parTransId="{5B9DBCFC-3873-4FB7-A346-F221AB55EACC}" sibTransId="{C20F0D5C-8C08-4A01-B9AD-B850883712A0}"/>
    <dgm:cxn modelId="{B4C53DBB-5AB3-419C-A9A7-493502049D53}" type="presOf" srcId="{8E948585-5EB8-4EDA-89D9-505E3E26394C}" destId="{7AEDB14C-4126-4A52-8E09-F49897C2A5D0}" srcOrd="0" destOrd="0" presId="urn:microsoft.com/office/officeart/2005/8/layout/default"/>
    <dgm:cxn modelId="{77EC74BF-6602-431F-A175-B24589F3FAD2}" type="presOf" srcId="{64891C57-ACF3-4C76-B8DE-9889C97DAA7E}" destId="{4549198D-A534-4FFF-93ED-013E60E38AEB}" srcOrd="0" destOrd="0" presId="urn:microsoft.com/office/officeart/2005/8/layout/default"/>
    <dgm:cxn modelId="{3091CAC4-9AA7-4551-8F7F-148E862AA8B8}" srcId="{1BDAF32C-7D46-41C2-AD0D-FCB3F6DB0EB4}" destId="{64891C57-ACF3-4C76-B8DE-9889C97DAA7E}" srcOrd="2" destOrd="0" parTransId="{AD8BD9DF-D942-4598-BCE2-0B9DB19DB3C7}" sibTransId="{C683A40E-61D0-4F68-BB51-2C2988C5A92D}"/>
    <dgm:cxn modelId="{7AD0FDCA-3448-4D3C-85C5-BA7D9C15C04D}" type="presOf" srcId="{3F1230B6-06D9-4D7C-87CD-A6139B8E610F}" destId="{A56F5685-E37D-4E75-9E81-1D4A6D2DBE04}" srcOrd="0" destOrd="0" presId="urn:microsoft.com/office/officeart/2005/8/layout/default"/>
    <dgm:cxn modelId="{4980614C-979D-4EC4-B54D-618A10318C6A}" type="presParOf" srcId="{FABF6EAD-2B4F-4A8A-9156-5F480FC9DCAD}" destId="{7789F461-C3D2-40E2-8D0C-F6673DBA2E56}" srcOrd="0" destOrd="0" presId="urn:microsoft.com/office/officeart/2005/8/layout/default"/>
    <dgm:cxn modelId="{E50503F9-8230-4C52-9FBD-ADF421627793}" type="presParOf" srcId="{FABF6EAD-2B4F-4A8A-9156-5F480FC9DCAD}" destId="{D4B4EE8F-553E-4EB5-AC8C-5EEF7592A897}" srcOrd="1" destOrd="0" presId="urn:microsoft.com/office/officeart/2005/8/layout/default"/>
    <dgm:cxn modelId="{23F6DAE1-D032-4BBD-A19E-47060FAC1AE7}" type="presParOf" srcId="{FABF6EAD-2B4F-4A8A-9156-5F480FC9DCAD}" destId="{7AEDB14C-4126-4A52-8E09-F49897C2A5D0}" srcOrd="2" destOrd="0" presId="urn:microsoft.com/office/officeart/2005/8/layout/default"/>
    <dgm:cxn modelId="{6B172CA9-0DED-4477-8614-9FE4E4BAEEE7}" type="presParOf" srcId="{FABF6EAD-2B4F-4A8A-9156-5F480FC9DCAD}" destId="{4770EBF9-F347-4E20-9E00-78ED0896951D}" srcOrd="3" destOrd="0" presId="urn:microsoft.com/office/officeart/2005/8/layout/default"/>
    <dgm:cxn modelId="{1AB20091-3338-4661-BD24-1F0E8E1B30EB}" type="presParOf" srcId="{FABF6EAD-2B4F-4A8A-9156-5F480FC9DCAD}" destId="{4549198D-A534-4FFF-93ED-013E60E38AEB}" srcOrd="4" destOrd="0" presId="urn:microsoft.com/office/officeart/2005/8/layout/default"/>
    <dgm:cxn modelId="{DDFAAF7C-B083-4195-89C9-18620A23F8C4}" type="presParOf" srcId="{FABF6EAD-2B4F-4A8A-9156-5F480FC9DCAD}" destId="{D32329DC-0603-4FD3-AB89-75D20237E11E}" srcOrd="5" destOrd="0" presId="urn:microsoft.com/office/officeart/2005/8/layout/default"/>
    <dgm:cxn modelId="{AA2E2BB9-91E3-409E-8BD0-E0839655677A}" type="presParOf" srcId="{FABF6EAD-2B4F-4A8A-9156-5F480FC9DCAD}" destId="{2C9CC21C-4BBF-4FB4-B0AF-CD6E68A4147D}" srcOrd="6" destOrd="0" presId="urn:microsoft.com/office/officeart/2005/8/layout/default"/>
    <dgm:cxn modelId="{73286032-8D4A-4BB9-A03A-87A8D41BD666}" type="presParOf" srcId="{FABF6EAD-2B4F-4A8A-9156-5F480FC9DCAD}" destId="{1C518678-5DF7-436A-8BB7-199E111C193F}" srcOrd="7" destOrd="0" presId="urn:microsoft.com/office/officeart/2005/8/layout/default"/>
    <dgm:cxn modelId="{A3CF5C43-24E2-4566-A005-B1B65F0AF09A}" type="presParOf" srcId="{FABF6EAD-2B4F-4A8A-9156-5F480FC9DCAD}" destId="{A56F5685-E37D-4E75-9E81-1D4A6D2DBE04}" srcOrd="8" destOrd="0" presId="urn:microsoft.com/office/officeart/2005/8/layout/default"/>
    <dgm:cxn modelId="{FAF40A47-48CB-4E9B-ABD1-5311B06AD1D3}" type="presParOf" srcId="{FABF6EAD-2B4F-4A8A-9156-5F480FC9DCAD}" destId="{5BAFE10A-31A8-499C-9207-3ADA7BF3C242}" srcOrd="9" destOrd="0" presId="urn:microsoft.com/office/officeart/2005/8/layout/default"/>
    <dgm:cxn modelId="{0E8B541E-D57E-4043-A6BC-F5F04A24FDD0}" type="presParOf" srcId="{FABF6EAD-2B4F-4A8A-9156-5F480FC9DCAD}" destId="{CEDFAA68-DA0A-4F22-B71E-FA1EB58DB060}"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395F5E-BF9E-451B-8865-DFEDA06E1C76}" type="doc">
      <dgm:prSet loTypeId="urn:microsoft.com/office/officeart/2005/8/layout/process1" loCatId="process" qsTypeId="urn:microsoft.com/office/officeart/2005/8/quickstyle/simple1" qsCatId="simple" csTypeId="urn:microsoft.com/office/officeart/2005/8/colors/accent1_1" csCatId="accent1" phldr="1"/>
      <dgm:spPr/>
      <dgm:t>
        <a:bodyPr/>
        <a:lstStyle/>
        <a:p>
          <a:endParaRPr lang="es-CL"/>
        </a:p>
      </dgm:t>
    </dgm:pt>
    <dgm:pt modelId="{37B07BA8-5DC2-403E-B4AF-4288BF3B4BA2}">
      <dgm:prSet phldrT="[Texto]"/>
      <dgm:spPr/>
      <dgm:t>
        <a:bodyPr/>
        <a:lstStyle/>
        <a:p>
          <a:r>
            <a:rPr lang="es-CL" dirty="0"/>
            <a:t>DEL EJERCICIO DE LA MEDICINA Y PROFESIONES AFINES</a:t>
          </a:r>
        </a:p>
      </dgm:t>
    </dgm:pt>
    <dgm:pt modelId="{989C290A-FE36-45C5-8D44-AB139E03DA6C}" type="parTrans" cxnId="{13EA78A6-72D9-4F59-ADEB-83EC3C146F74}">
      <dgm:prSet/>
      <dgm:spPr/>
      <dgm:t>
        <a:bodyPr/>
        <a:lstStyle/>
        <a:p>
          <a:endParaRPr lang="es-CL"/>
        </a:p>
      </dgm:t>
    </dgm:pt>
    <dgm:pt modelId="{328C6B65-48FB-4D5D-AAC3-9BFB8D891902}" type="sibTrans" cxnId="{13EA78A6-72D9-4F59-ADEB-83EC3C146F74}">
      <dgm:prSet/>
      <dgm:spPr/>
      <dgm:t>
        <a:bodyPr/>
        <a:lstStyle/>
        <a:p>
          <a:endParaRPr lang="es-CL"/>
        </a:p>
      </dgm:t>
    </dgm:pt>
    <dgm:pt modelId="{183AF72A-266A-49D3-83EE-730616A8B02F}">
      <dgm:prSet phldrT="[Texto]"/>
      <dgm:spPr/>
      <dgm:t>
        <a:bodyPr/>
        <a:lstStyle/>
        <a:p>
          <a:r>
            <a:rPr lang="es-CL" dirty="0"/>
            <a:t>DEL </a:t>
          </a:r>
          <a:r>
            <a:rPr lang="es-MX" dirty="0"/>
            <a:t>EJERCICIO DE LOS INTEGRANTES DEL EQUIPO DE </a:t>
          </a:r>
          <a:r>
            <a:rPr lang="es-CL" dirty="0"/>
            <a:t>ATENCIÓN DE SALUD</a:t>
          </a:r>
        </a:p>
      </dgm:t>
    </dgm:pt>
    <dgm:pt modelId="{3ED84E62-F3F9-436A-8512-67774D8E88A8}" type="parTrans" cxnId="{E6DF0BFD-419C-49CE-8CD0-49A0D30972C0}">
      <dgm:prSet/>
      <dgm:spPr/>
      <dgm:t>
        <a:bodyPr/>
        <a:lstStyle/>
        <a:p>
          <a:endParaRPr lang="es-CL"/>
        </a:p>
      </dgm:t>
    </dgm:pt>
    <dgm:pt modelId="{7E576837-25B5-40F5-B78A-96EA254C6BFE}" type="sibTrans" cxnId="{E6DF0BFD-419C-49CE-8CD0-49A0D30972C0}">
      <dgm:prSet/>
      <dgm:spPr/>
      <dgm:t>
        <a:bodyPr/>
        <a:lstStyle/>
        <a:p>
          <a:endParaRPr lang="es-CL"/>
        </a:p>
      </dgm:t>
    </dgm:pt>
    <dgm:pt modelId="{578A3898-5A7A-443F-96DE-AD95BFB785B0}" type="pres">
      <dgm:prSet presAssocID="{E2395F5E-BF9E-451B-8865-DFEDA06E1C76}" presName="Name0" presStyleCnt="0">
        <dgm:presLayoutVars>
          <dgm:dir/>
          <dgm:resizeHandles val="exact"/>
        </dgm:presLayoutVars>
      </dgm:prSet>
      <dgm:spPr/>
    </dgm:pt>
    <dgm:pt modelId="{EFE4794C-6DB5-4849-9950-22C233B501F5}" type="pres">
      <dgm:prSet presAssocID="{37B07BA8-5DC2-403E-B4AF-4288BF3B4BA2}" presName="node" presStyleLbl="node1" presStyleIdx="0" presStyleCnt="2">
        <dgm:presLayoutVars>
          <dgm:bulletEnabled val="1"/>
        </dgm:presLayoutVars>
      </dgm:prSet>
      <dgm:spPr/>
    </dgm:pt>
    <dgm:pt modelId="{290626FC-604E-4179-9031-4BFFE04B370D}" type="pres">
      <dgm:prSet presAssocID="{328C6B65-48FB-4D5D-AAC3-9BFB8D891902}" presName="sibTrans" presStyleLbl="sibTrans2D1" presStyleIdx="0" presStyleCnt="1"/>
      <dgm:spPr/>
    </dgm:pt>
    <dgm:pt modelId="{8F82B70A-DA79-4C9A-A250-938CC8B80396}" type="pres">
      <dgm:prSet presAssocID="{328C6B65-48FB-4D5D-AAC3-9BFB8D891902}" presName="connectorText" presStyleLbl="sibTrans2D1" presStyleIdx="0" presStyleCnt="1"/>
      <dgm:spPr/>
    </dgm:pt>
    <dgm:pt modelId="{0BB79E13-C171-4776-A2BD-684773E07B50}" type="pres">
      <dgm:prSet presAssocID="{183AF72A-266A-49D3-83EE-730616A8B02F}" presName="node" presStyleLbl="node1" presStyleIdx="1" presStyleCnt="2">
        <dgm:presLayoutVars>
          <dgm:bulletEnabled val="1"/>
        </dgm:presLayoutVars>
      </dgm:prSet>
      <dgm:spPr/>
    </dgm:pt>
  </dgm:ptLst>
  <dgm:cxnLst>
    <dgm:cxn modelId="{C0460202-0895-4BA7-9305-B598403A0392}" type="presOf" srcId="{E2395F5E-BF9E-451B-8865-DFEDA06E1C76}" destId="{578A3898-5A7A-443F-96DE-AD95BFB785B0}" srcOrd="0" destOrd="0" presId="urn:microsoft.com/office/officeart/2005/8/layout/process1"/>
    <dgm:cxn modelId="{5204F068-8EAA-47C5-BDA2-59FB2975E8B2}" type="presOf" srcId="{328C6B65-48FB-4D5D-AAC3-9BFB8D891902}" destId="{290626FC-604E-4179-9031-4BFFE04B370D}" srcOrd="0" destOrd="0" presId="urn:microsoft.com/office/officeart/2005/8/layout/process1"/>
    <dgm:cxn modelId="{F6E4FB4F-EBDB-4F26-B214-E7FBB30D26A8}" type="presOf" srcId="{183AF72A-266A-49D3-83EE-730616A8B02F}" destId="{0BB79E13-C171-4776-A2BD-684773E07B50}" srcOrd="0" destOrd="0" presId="urn:microsoft.com/office/officeart/2005/8/layout/process1"/>
    <dgm:cxn modelId="{13EA78A6-72D9-4F59-ADEB-83EC3C146F74}" srcId="{E2395F5E-BF9E-451B-8865-DFEDA06E1C76}" destId="{37B07BA8-5DC2-403E-B4AF-4288BF3B4BA2}" srcOrd="0" destOrd="0" parTransId="{989C290A-FE36-45C5-8D44-AB139E03DA6C}" sibTransId="{328C6B65-48FB-4D5D-AAC3-9BFB8D891902}"/>
    <dgm:cxn modelId="{5CB4DCE5-556D-4A6D-A1C0-4F83CB07E0FB}" type="presOf" srcId="{328C6B65-48FB-4D5D-AAC3-9BFB8D891902}" destId="{8F82B70A-DA79-4C9A-A250-938CC8B80396}" srcOrd="1" destOrd="0" presId="urn:microsoft.com/office/officeart/2005/8/layout/process1"/>
    <dgm:cxn modelId="{2EB37FFA-C058-4017-AC21-E04A87F6CE4B}" type="presOf" srcId="{37B07BA8-5DC2-403E-B4AF-4288BF3B4BA2}" destId="{EFE4794C-6DB5-4849-9950-22C233B501F5}" srcOrd="0" destOrd="0" presId="urn:microsoft.com/office/officeart/2005/8/layout/process1"/>
    <dgm:cxn modelId="{E6DF0BFD-419C-49CE-8CD0-49A0D30972C0}" srcId="{E2395F5E-BF9E-451B-8865-DFEDA06E1C76}" destId="{183AF72A-266A-49D3-83EE-730616A8B02F}" srcOrd="1" destOrd="0" parTransId="{3ED84E62-F3F9-436A-8512-67774D8E88A8}" sibTransId="{7E576837-25B5-40F5-B78A-96EA254C6BFE}"/>
    <dgm:cxn modelId="{AB92F167-01E7-4095-86F9-E75DFA398ADE}" type="presParOf" srcId="{578A3898-5A7A-443F-96DE-AD95BFB785B0}" destId="{EFE4794C-6DB5-4849-9950-22C233B501F5}" srcOrd="0" destOrd="0" presId="urn:microsoft.com/office/officeart/2005/8/layout/process1"/>
    <dgm:cxn modelId="{A8CE0B36-BE61-485B-A091-C9396F5B307C}" type="presParOf" srcId="{578A3898-5A7A-443F-96DE-AD95BFB785B0}" destId="{290626FC-604E-4179-9031-4BFFE04B370D}" srcOrd="1" destOrd="0" presId="urn:microsoft.com/office/officeart/2005/8/layout/process1"/>
    <dgm:cxn modelId="{4121D445-FCD1-4CB6-B068-57834AD5A1B5}" type="presParOf" srcId="{290626FC-604E-4179-9031-4BFFE04B370D}" destId="{8F82B70A-DA79-4C9A-A250-938CC8B80396}" srcOrd="0" destOrd="0" presId="urn:microsoft.com/office/officeart/2005/8/layout/process1"/>
    <dgm:cxn modelId="{91F2DEE5-8AFF-4C40-84D7-BABCBCDE6672}" type="presParOf" srcId="{578A3898-5A7A-443F-96DE-AD95BFB785B0}" destId="{0BB79E13-C171-4776-A2BD-684773E07B50}"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2395F5E-BF9E-451B-8865-DFEDA06E1C76}" type="doc">
      <dgm:prSet loTypeId="urn:microsoft.com/office/officeart/2005/8/layout/bProcess4" loCatId="process" qsTypeId="urn:microsoft.com/office/officeart/2005/8/quickstyle/simple1" qsCatId="simple" csTypeId="urn:microsoft.com/office/officeart/2005/8/colors/accent1_1" csCatId="accent1" phldr="1"/>
      <dgm:spPr/>
      <dgm:t>
        <a:bodyPr/>
        <a:lstStyle/>
        <a:p>
          <a:endParaRPr lang="es-CL"/>
        </a:p>
      </dgm:t>
    </dgm:pt>
    <dgm:pt modelId="{37B07BA8-5DC2-403E-B4AF-4288BF3B4BA2}">
      <dgm:prSet phldrT="[Texto]" custT="1"/>
      <dgm:spPr/>
      <dgm:t>
        <a:bodyPr/>
        <a:lstStyle/>
        <a:p>
          <a:r>
            <a:rPr lang="es-CL" sz="1200" b="1" dirty="0"/>
            <a:t>“TÍTULO I</a:t>
          </a:r>
        </a:p>
        <a:p>
          <a:r>
            <a:rPr lang="es-MX" sz="1200" b="1" dirty="0"/>
            <a:t>DEL EQUIPO DE ATENCIÓN DE SALUD Y </a:t>
          </a:r>
          <a:r>
            <a:rPr lang="es-CL" sz="1200" b="1" dirty="0"/>
            <a:t>SUS INTEGRANTES”.</a:t>
          </a:r>
        </a:p>
      </dgm:t>
    </dgm:pt>
    <dgm:pt modelId="{989C290A-FE36-45C5-8D44-AB139E03DA6C}" type="parTrans" cxnId="{13EA78A6-72D9-4F59-ADEB-83EC3C146F74}">
      <dgm:prSet/>
      <dgm:spPr/>
      <dgm:t>
        <a:bodyPr/>
        <a:lstStyle/>
        <a:p>
          <a:endParaRPr lang="es-CL" sz="3600"/>
        </a:p>
      </dgm:t>
    </dgm:pt>
    <dgm:pt modelId="{328C6B65-48FB-4D5D-AAC3-9BFB8D891902}" type="sibTrans" cxnId="{13EA78A6-72D9-4F59-ADEB-83EC3C146F74}">
      <dgm:prSet/>
      <dgm:spPr/>
      <dgm:t>
        <a:bodyPr/>
        <a:lstStyle/>
        <a:p>
          <a:endParaRPr lang="es-CL" sz="3600"/>
        </a:p>
      </dgm:t>
    </dgm:pt>
    <dgm:pt modelId="{183AF72A-266A-49D3-83EE-730616A8B02F}">
      <dgm:prSet phldrT="[Texto]" custT="1"/>
      <dgm:spPr/>
      <dgm:t>
        <a:bodyPr/>
        <a:lstStyle/>
        <a:p>
          <a:r>
            <a:rPr lang="es-MX" sz="1200" dirty="0"/>
            <a:t>Artículo 112º.- El equipo de atención de salud está conformado por </a:t>
          </a:r>
          <a:r>
            <a:rPr lang="es-CL" sz="1200" dirty="0"/>
            <a:t>personas naturales que ejercen </a:t>
          </a:r>
          <a:r>
            <a:rPr lang="es-MX" sz="1200" dirty="0"/>
            <a:t>profesiones de la salud, sean </a:t>
          </a:r>
          <a:r>
            <a:rPr lang="es-CL" sz="1200" b="1" dirty="0"/>
            <a:t>profesionales, técnicos o auxiliares</a:t>
          </a:r>
          <a:r>
            <a:rPr lang="es-CL" sz="1200" dirty="0"/>
            <a:t>, legalmente habilitadas para otorgar </a:t>
          </a:r>
          <a:r>
            <a:rPr lang="es-MX" sz="1200" dirty="0"/>
            <a:t>acciones de salud propias del ámbito de su </a:t>
          </a:r>
          <a:r>
            <a:rPr lang="es-CL" sz="1200" dirty="0"/>
            <a:t>competencia específica para los </a:t>
          </a:r>
          <a:r>
            <a:rPr lang="es-MX" sz="1200" dirty="0"/>
            <a:t>habitantes de la República, con el objeto de dar una respuesta integral a las necesidades de la salud de las personas, familias y comunidades, con un </a:t>
          </a:r>
          <a:r>
            <a:rPr lang="es-MX" sz="1200" b="1" dirty="0"/>
            <a:t>enfoque </a:t>
          </a:r>
          <a:r>
            <a:rPr lang="es-CL" sz="1200" b="1" dirty="0"/>
            <a:t>biopsicosocial, de derechos humanos, territorial, intersectorial, interdisciplinario, intercultural y de </a:t>
          </a:r>
          <a:r>
            <a:rPr lang="es-MX" sz="1200" b="1" dirty="0"/>
            <a:t>género, velando por el eficiente uso de los recursos y la calidad y seguridad de </a:t>
          </a:r>
          <a:r>
            <a:rPr lang="es-CL" sz="1200" b="1" dirty="0"/>
            <a:t>la atención.</a:t>
          </a:r>
          <a:r>
            <a:rPr lang="es-MX" sz="1200" dirty="0"/>
            <a:t> </a:t>
          </a:r>
          <a:endParaRPr lang="es-CL" sz="1200" dirty="0"/>
        </a:p>
      </dgm:t>
    </dgm:pt>
    <dgm:pt modelId="{3ED84E62-F3F9-436A-8512-67774D8E88A8}" type="parTrans" cxnId="{E6DF0BFD-419C-49CE-8CD0-49A0D30972C0}">
      <dgm:prSet/>
      <dgm:spPr/>
      <dgm:t>
        <a:bodyPr/>
        <a:lstStyle/>
        <a:p>
          <a:endParaRPr lang="es-CL" sz="3600"/>
        </a:p>
      </dgm:t>
    </dgm:pt>
    <dgm:pt modelId="{7E576837-25B5-40F5-B78A-96EA254C6BFE}" type="sibTrans" cxnId="{E6DF0BFD-419C-49CE-8CD0-49A0D30972C0}">
      <dgm:prSet/>
      <dgm:spPr/>
      <dgm:t>
        <a:bodyPr/>
        <a:lstStyle/>
        <a:p>
          <a:endParaRPr lang="es-CL" sz="3600"/>
        </a:p>
      </dgm:t>
    </dgm:pt>
    <dgm:pt modelId="{00930067-E744-43CC-B6D1-3474C663F33A}">
      <dgm:prSet custT="1"/>
      <dgm:spPr/>
      <dgm:t>
        <a:bodyPr/>
        <a:lstStyle/>
        <a:p>
          <a:r>
            <a:rPr lang="es-MX" sz="1200" b="0" i="0" dirty="0"/>
            <a:t>Se entenderá que los miembros del </a:t>
          </a:r>
          <a:r>
            <a:rPr lang="es-MX" sz="1200" b="1" i="0" dirty="0"/>
            <a:t>equipo de atención de salud</a:t>
          </a:r>
          <a:r>
            <a:rPr lang="es-MX" sz="1200" b="0" i="0" dirty="0"/>
            <a:t> también forman parte de los </a:t>
          </a:r>
          <a:r>
            <a:rPr lang="es-MX" sz="1200" b="1" i="0" dirty="0"/>
            <a:t>equipos de salud</a:t>
          </a:r>
          <a:r>
            <a:rPr lang="es-MX" sz="1200" b="0" i="0" dirty="0"/>
            <a:t>, de conformidad a la ley </a:t>
          </a:r>
          <a:r>
            <a:rPr lang="es-MX" sz="1200" b="0" i="0" dirty="0" err="1"/>
            <a:t>Nº</a:t>
          </a:r>
          <a:r>
            <a:rPr lang="es-MX" sz="1200" b="0" i="0" dirty="0"/>
            <a:t> 20.584 que regula los derechos y deberes que tienen las personas en relación con acciones vinculadas a su atención en salud.</a:t>
          </a:r>
          <a:endParaRPr lang="es-CL" sz="1200" dirty="0"/>
        </a:p>
      </dgm:t>
    </dgm:pt>
    <dgm:pt modelId="{7FE4EC1A-2F90-47FE-8FA7-5AE8B27B2A73}" type="parTrans" cxnId="{77AF77B9-8375-4281-BD70-4815837BFEF3}">
      <dgm:prSet/>
      <dgm:spPr/>
      <dgm:t>
        <a:bodyPr/>
        <a:lstStyle/>
        <a:p>
          <a:endParaRPr lang="es-CL" sz="3600"/>
        </a:p>
      </dgm:t>
    </dgm:pt>
    <dgm:pt modelId="{9BD33BCD-E8FE-4586-8DA3-18F7D7473075}" type="sibTrans" cxnId="{77AF77B9-8375-4281-BD70-4815837BFEF3}">
      <dgm:prSet/>
      <dgm:spPr/>
      <dgm:t>
        <a:bodyPr/>
        <a:lstStyle/>
        <a:p>
          <a:endParaRPr lang="es-CL" sz="3600"/>
        </a:p>
      </dgm:t>
    </dgm:pt>
    <dgm:pt modelId="{DD61FAFB-E3C3-42F0-812F-635EB9A54660}">
      <dgm:prSet custT="1"/>
      <dgm:spPr/>
      <dgm:t>
        <a:bodyPr/>
        <a:lstStyle/>
        <a:p>
          <a:r>
            <a:rPr lang="es-MX" sz="1200" b="0" i="0" dirty="0"/>
            <a:t>Corresponderá a la Superintendencia de Salud llevar un </a:t>
          </a:r>
          <a:r>
            <a:rPr lang="es-MX" sz="1200" b="1" i="0" dirty="0"/>
            <a:t>registro actualizado </a:t>
          </a:r>
          <a:r>
            <a:rPr lang="es-MX" sz="1200" b="0" i="0" dirty="0"/>
            <a:t>de las personas legalmente habilitadas para otorgar acciones de salud.</a:t>
          </a:r>
          <a:endParaRPr lang="es-CL" sz="1200" dirty="0"/>
        </a:p>
      </dgm:t>
    </dgm:pt>
    <dgm:pt modelId="{22BCD879-2AF9-468F-81C2-F4C29A257A95}" type="parTrans" cxnId="{85B8152E-6BFF-44AB-B971-1A0A9A0BD719}">
      <dgm:prSet/>
      <dgm:spPr/>
      <dgm:t>
        <a:bodyPr/>
        <a:lstStyle/>
        <a:p>
          <a:endParaRPr lang="es-CL" sz="3600"/>
        </a:p>
      </dgm:t>
    </dgm:pt>
    <dgm:pt modelId="{9AAB2C35-DA47-4211-86F0-BAC988E89CEA}" type="sibTrans" cxnId="{85B8152E-6BFF-44AB-B971-1A0A9A0BD719}">
      <dgm:prSet/>
      <dgm:spPr/>
      <dgm:t>
        <a:bodyPr/>
        <a:lstStyle/>
        <a:p>
          <a:endParaRPr lang="es-CL" sz="3600"/>
        </a:p>
      </dgm:t>
    </dgm:pt>
    <dgm:pt modelId="{3CE266A6-D131-4789-9DA2-BA75C6B63051}">
      <dgm:prSet custT="1"/>
      <dgm:spPr/>
      <dgm:t>
        <a:bodyPr/>
        <a:lstStyle/>
        <a:p>
          <a:r>
            <a:rPr lang="es-MX" sz="1200" b="0" i="0" dirty="0"/>
            <a:t>Quienes ejerzan profesiones de la salud podrán actuar en forma </a:t>
          </a:r>
          <a:r>
            <a:rPr lang="es-MX" sz="1200" b="1" i="0" dirty="0"/>
            <a:t>individual o como parte de un equipo</a:t>
          </a:r>
          <a:r>
            <a:rPr lang="es-MX" sz="1200" b="0" i="0" dirty="0"/>
            <a:t> de atención de salud.</a:t>
          </a:r>
          <a:endParaRPr lang="es-CL" sz="1200" dirty="0"/>
        </a:p>
      </dgm:t>
    </dgm:pt>
    <dgm:pt modelId="{2A4FC80C-B4A7-4FAF-A3DE-3AA7EF34D560}" type="parTrans" cxnId="{72F443F5-417D-4DEF-BAF1-C75085720039}">
      <dgm:prSet/>
      <dgm:spPr/>
      <dgm:t>
        <a:bodyPr/>
        <a:lstStyle/>
        <a:p>
          <a:endParaRPr lang="es-CL" sz="3600"/>
        </a:p>
      </dgm:t>
    </dgm:pt>
    <dgm:pt modelId="{1D382441-1CD7-47A4-ACCC-FCF1C828B935}" type="sibTrans" cxnId="{72F443F5-417D-4DEF-BAF1-C75085720039}">
      <dgm:prSet/>
      <dgm:spPr/>
      <dgm:t>
        <a:bodyPr/>
        <a:lstStyle/>
        <a:p>
          <a:endParaRPr lang="es-CL" sz="3600"/>
        </a:p>
      </dgm:t>
    </dgm:pt>
    <dgm:pt modelId="{395E42F1-87C7-4CA2-8BAD-7A701AA8ED40}">
      <dgm:prSet custT="1"/>
      <dgm:spPr/>
      <dgm:t>
        <a:bodyPr/>
        <a:lstStyle/>
        <a:p>
          <a:r>
            <a:rPr lang="es-MX" sz="1200" b="0" i="0" dirty="0"/>
            <a:t>Los profesionales, técnicos y auxiliares señalados en este Libro podrán, además, dependiendo de sus competencias, ejercer en los </a:t>
          </a:r>
          <a:r>
            <a:rPr lang="es-MX" sz="1200" b="1" i="0" dirty="0"/>
            <a:t>ámbitos de gestión, docencia, investigación, funciones gerenciales, administrativas, ejecutivas u otras relacionadas con el ejercicio de su profesión o ámbito de competencia</a:t>
          </a:r>
          <a:r>
            <a:rPr lang="es-MX" sz="1200" b="0" i="0" dirty="0"/>
            <a:t>.”.</a:t>
          </a:r>
          <a:endParaRPr lang="es-CL" sz="1200" dirty="0"/>
        </a:p>
      </dgm:t>
    </dgm:pt>
    <dgm:pt modelId="{ABC33011-4EC6-49E2-BB81-C9FE5DE8F338}" type="parTrans" cxnId="{57CADF2E-B03A-4044-A11D-5EF6FFD903FC}">
      <dgm:prSet/>
      <dgm:spPr/>
      <dgm:t>
        <a:bodyPr/>
        <a:lstStyle/>
        <a:p>
          <a:endParaRPr lang="es-CL" sz="3600"/>
        </a:p>
      </dgm:t>
    </dgm:pt>
    <dgm:pt modelId="{8AEC2C41-AC2A-4486-8E16-A2DBFA59B9E4}" type="sibTrans" cxnId="{57CADF2E-B03A-4044-A11D-5EF6FFD903FC}">
      <dgm:prSet/>
      <dgm:spPr/>
      <dgm:t>
        <a:bodyPr/>
        <a:lstStyle/>
        <a:p>
          <a:endParaRPr lang="es-CL" sz="3600"/>
        </a:p>
      </dgm:t>
    </dgm:pt>
    <dgm:pt modelId="{A01BC35E-FF35-4B7B-A876-73F12C3F07DE}" type="pres">
      <dgm:prSet presAssocID="{E2395F5E-BF9E-451B-8865-DFEDA06E1C76}" presName="Name0" presStyleCnt="0">
        <dgm:presLayoutVars>
          <dgm:dir/>
          <dgm:resizeHandles/>
        </dgm:presLayoutVars>
      </dgm:prSet>
      <dgm:spPr/>
    </dgm:pt>
    <dgm:pt modelId="{4BE1B759-1656-4EF8-B13A-8D29A8364737}" type="pres">
      <dgm:prSet presAssocID="{37B07BA8-5DC2-403E-B4AF-4288BF3B4BA2}" presName="compNode" presStyleCnt="0"/>
      <dgm:spPr/>
    </dgm:pt>
    <dgm:pt modelId="{DD2DCE1A-D6E0-491D-A6E4-E0427A76A8FB}" type="pres">
      <dgm:prSet presAssocID="{37B07BA8-5DC2-403E-B4AF-4288BF3B4BA2}" presName="dummyConnPt" presStyleCnt="0"/>
      <dgm:spPr/>
    </dgm:pt>
    <dgm:pt modelId="{E14677BE-45D9-469D-9D76-5B66CB6AB08E}" type="pres">
      <dgm:prSet presAssocID="{37B07BA8-5DC2-403E-B4AF-4288BF3B4BA2}" presName="node" presStyleLbl="node1" presStyleIdx="0" presStyleCnt="6" custScaleX="231392" custLinFactNeighborX="1908" custLinFactNeighborY="-2763">
        <dgm:presLayoutVars>
          <dgm:bulletEnabled val="1"/>
        </dgm:presLayoutVars>
      </dgm:prSet>
      <dgm:spPr/>
    </dgm:pt>
    <dgm:pt modelId="{5B9073CC-202D-4060-84A3-4B1BA246CB7E}" type="pres">
      <dgm:prSet presAssocID="{328C6B65-48FB-4D5D-AAC3-9BFB8D891902}" presName="sibTrans" presStyleLbl="bgSibTrans2D1" presStyleIdx="0" presStyleCnt="5"/>
      <dgm:spPr/>
    </dgm:pt>
    <dgm:pt modelId="{CAE009E1-A48F-4CAD-94F2-0DED2DF3C410}" type="pres">
      <dgm:prSet presAssocID="{183AF72A-266A-49D3-83EE-730616A8B02F}" presName="compNode" presStyleCnt="0"/>
      <dgm:spPr/>
    </dgm:pt>
    <dgm:pt modelId="{D9511B94-2E3F-49F4-9131-B13BB1CEA7E7}" type="pres">
      <dgm:prSet presAssocID="{183AF72A-266A-49D3-83EE-730616A8B02F}" presName="dummyConnPt" presStyleCnt="0"/>
      <dgm:spPr/>
    </dgm:pt>
    <dgm:pt modelId="{40B4D0A3-ECB6-4762-A933-74ABF3991BE2}" type="pres">
      <dgm:prSet presAssocID="{183AF72A-266A-49D3-83EE-730616A8B02F}" presName="node" presStyleLbl="node1" presStyleIdx="1" presStyleCnt="6" custScaleX="236293" custScaleY="178773">
        <dgm:presLayoutVars>
          <dgm:bulletEnabled val="1"/>
        </dgm:presLayoutVars>
      </dgm:prSet>
      <dgm:spPr/>
    </dgm:pt>
    <dgm:pt modelId="{EDD0DB49-C8FC-4504-A2E1-461EEAF960E0}" type="pres">
      <dgm:prSet presAssocID="{7E576837-25B5-40F5-B78A-96EA254C6BFE}" presName="sibTrans" presStyleLbl="bgSibTrans2D1" presStyleIdx="1" presStyleCnt="5"/>
      <dgm:spPr/>
    </dgm:pt>
    <dgm:pt modelId="{0AA6690C-04E8-47E5-A35F-9E19F6E283B2}" type="pres">
      <dgm:prSet presAssocID="{00930067-E744-43CC-B6D1-3474C663F33A}" presName="compNode" presStyleCnt="0"/>
      <dgm:spPr/>
    </dgm:pt>
    <dgm:pt modelId="{2F167AC1-0CD1-449D-BBDF-CD2CB22C8B0A}" type="pres">
      <dgm:prSet presAssocID="{00930067-E744-43CC-B6D1-3474C663F33A}" presName="dummyConnPt" presStyleCnt="0"/>
      <dgm:spPr/>
    </dgm:pt>
    <dgm:pt modelId="{342B33D7-4A33-42DE-8D98-DD567E37B696}" type="pres">
      <dgm:prSet presAssocID="{00930067-E744-43CC-B6D1-3474C663F33A}" presName="node" presStyleLbl="node1" presStyleIdx="2" presStyleCnt="6" custScaleX="231788" custLinFactNeighborX="667" custLinFactNeighborY="495">
        <dgm:presLayoutVars>
          <dgm:bulletEnabled val="1"/>
        </dgm:presLayoutVars>
      </dgm:prSet>
      <dgm:spPr/>
    </dgm:pt>
    <dgm:pt modelId="{77041C99-1CD3-439E-92CC-44559F8574A9}" type="pres">
      <dgm:prSet presAssocID="{9BD33BCD-E8FE-4586-8DA3-18F7D7473075}" presName="sibTrans" presStyleLbl="bgSibTrans2D1" presStyleIdx="2" presStyleCnt="5"/>
      <dgm:spPr/>
    </dgm:pt>
    <dgm:pt modelId="{55FC8D79-3516-4D25-A7C6-F0838F07C68C}" type="pres">
      <dgm:prSet presAssocID="{DD61FAFB-E3C3-42F0-812F-635EB9A54660}" presName="compNode" presStyleCnt="0"/>
      <dgm:spPr/>
    </dgm:pt>
    <dgm:pt modelId="{AA3450FA-99BC-4232-8637-12823ADEE84C}" type="pres">
      <dgm:prSet presAssocID="{DD61FAFB-E3C3-42F0-812F-635EB9A54660}" presName="dummyConnPt" presStyleCnt="0"/>
      <dgm:spPr/>
    </dgm:pt>
    <dgm:pt modelId="{D5D144E6-07B7-4567-8C5D-53929F3B61BE}" type="pres">
      <dgm:prSet presAssocID="{DD61FAFB-E3C3-42F0-812F-635EB9A54660}" presName="node" presStyleLbl="node1" presStyleIdx="3" presStyleCnt="6" custScaleX="172620">
        <dgm:presLayoutVars>
          <dgm:bulletEnabled val="1"/>
        </dgm:presLayoutVars>
      </dgm:prSet>
      <dgm:spPr/>
    </dgm:pt>
    <dgm:pt modelId="{C76C3609-B634-423D-A203-371757EC4E78}" type="pres">
      <dgm:prSet presAssocID="{9AAB2C35-DA47-4211-86F0-BAC988E89CEA}" presName="sibTrans" presStyleLbl="bgSibTrans2D1" presStyleIdx="3" presStyleCnt="5"/>
      <dgm:spPr/>
    </dgm:pt>
    <dgm:pt modelId="{3FBE723F-26FC-4604-81E1-64D29C6822F2}" type="pres">
      <dgm:prSet presAssocID="{3CE266A6-D131-4789-9DA2-BA75C6B63051}" presName="compNode" presStyleCnt="0"/>
      <dgm:spPr/>
    </dgm:pt>
    <dgm:pt modelId="{9141B2D1-5BE9-400C-9E47-DFB7E538E81E}" type="pres">
      <dgm:prSet presAssocID="{3CE266A6-D131-4789-9DA2-BA75C6B63051}" presName="dummyConnPt" presStyleCnt="0"/>
      <dgm:spPr/>
    </dgm:pt>
    <dgm:pt modelId="{49EC790B-071F-4B41-A89A-8817D6A87A6B}" type="pres">
      <dgm:prSet presAssocID="{3CE266A6-D131-4789-9DA2-BA75C6B63051}" presName="node" presStyleLbl="node1" presStyleIdx="4" presStyleCnt="6" custScaleX="172620">
        <dgm:presLayoutVars>
          <dgm:bulletEnabled val="1"/>
        </dgm:presLayoutVars>
      </dgm:prSet>
      <dgm:spPr/>
    </dgm:pt>
    <dgm:pt modelId="{6281EDED-BB46-4754-94EF-5F6298E653A0}" type="pres">
      <dgm:prSet presAssocID="{1D382441-1CD7-47A4-ACCC-FCF1C828B935}" presName="sibTrans" presStyleLbl="bgSibTrans2D1" presStyleIdx="4" presStyleCnt="5"/>
      <dgm:spPr/>
    </dgm:pt>
    <dgm:pt modelId="{FD974416-9A12-44A4-B0C8-740232A141AA}" type="pres">
      <dgm:prSet presAssocID="{395E42F1-87C7-4CA2-8BAD-7A701AA8ED40}" presName="compNode" presStyleCnt="0"/>
      <dgm:spPr/>
    </dgm:pt>
    <dgm:pt modelId="{F967E9FD-0230-4E0B-983A-F81B70DBD6C1}" type="pres">
      <dgm:prSet presAssocID="{395E42F1-87C7-4CA2-8BAD-7A701AA8ED40}" presName="dummyConnPt" presStyleCnt="0"/>
      <dgm:spPr/>
    </dgm:pt>
    <dgm:pt modelId="{5AD54734-B5DC-451A-959D-C332E6303501}" type="pres">
      <dgm:prSet presAssocID="{395E42F1-87C7-4CA2-8BAD-7A701AA8ED40}" presName="node" presStyleLbl="node1" presStyleIdx="5" presStyleCnt="6" custScaleX="177710" custScaleY="179404">
        <dgm:presLayoutVars>
          <dgm:bulletEnabled val="1"/>
        </dgm:presLayoutVars>
      </dgm:prSet>
      <dgm:spPr/>
    </dgm:pt>
  </dgm:ptLst>
  <dgm:cxnLst>
    <dgm:cxn modelId="{89A1CB0B-692E-406F-8F9C-FF0AED63BCE8}" type="presOf" srcId="{E2395F5E-BF9E-451B-8865-DFEDA06E1C76}" destId="{A01BC35E-FF35-4B7B-A876-73F12C3F07DE}" srcOrd="0" destOrd="0" presId="urn:microsoft.com/office/officeart/2005/8/layout/bProcess4"/>
    <dgm:cxn modelId="{0993A80C-7B38-4E09-944C-6BF65D28C440}" type="presOf" srcId="{7E576837-25B5-40F5-B78A-96EA254C6BFE}" destId="{EDD0DB49-C8FC-4504-A2E1-461EEAF960E0}" srcOrd="0" destOrd="0" presId="urn:microsoft.com/office/officeart/2005/8/layout/bProcess4"/>
    <dgm:cxn modelId="{85B8152E-6BFF-44AB-B971-1A0A9A0BD719}" srcId="{E2395F5E-BF9E-451B-8865-DFEDA06E1C76}" destId="{DD61FAFB-E3C3-42F0-812F-635EB9A54660}" srcOrd="3" destOrd="0" parTransId="{22BCD879-2AF9-468F-81C2-F4C29A257A95}" sibTransId="{9AAB2C35-DA47-4211-86F0-BAC988E89CEA}"/>
    <dgm:cxn modelId="{57CADF2E-B03A-4044-A11D-5EF6FFD903FC}" srcId="{E2395F5E-BF9E-451B-8865-DFEDA06E1C76}" destId="{395E42F1-87C7-4CA2-8BAD-7A701AA8ED40}" srcOrd="5" destOrd="0" parTransId="{ABC33011-4EC6-49E2-BB81-C9FE5DE8F338}" sibTransId="{8AEC2C41-AC2A-4486-8E16-A2DBFA59B9E4}"/>
    <dgm:cxn modelId="{0AE5BC3B-A2AE-4D37-B2AF-A251F117A3DD}" type="presOf" srcId="{183AF72A-266A-49D3-83EE-730616A8B02F}" destId="{40B4D0A3-ECB6-4762-A933-74ABF3991BE2}" srcOrd="0" destOrd="0" presId="urn:microsoft.com/office/officeart/2005/8/layout/bProcess4"/>
    <dgm:cxn modelId="{C51C8760-1C3F-4C0F-9D1E-544817C2EA90}" type="presOf" srcId="{1D382441-1CD7-47A4-ACCC-FCF1C828B935}" destId="{6281EDED-BB46-4754-94EF-5F6298E653A0}" srcOrd="0" destOrd="0" presId="urn:microsoft.com/office/officeart/2005/8/layout/bProcess4"/>
    <dgm:cxn modelId="{A67A4054-5624-4AE7-9EDE-5FA37C108D3D}" type="presOf" srcId="{9BD33BCD-E8FE-4586-8DA3-18F7D7473075}" destId="{77041C99-1CD3-439E-92CC-44559F8574A9}" srcOrd="0" destOrd="0" presId="urn:microsoft.com/office/officeart/2005/8/layout/bProcess4"/>
    <dgm:cxn modelId="{97849B8C-6166-4DA7-A5B7-E5BD34135436}" type="presOf" srcId="{3CE266A6-D131-4789-9DA2-BA75C6B63051}" destId="{49EC790B-071F-4B41-A89A-8817D6A87A6B}" srcOrd="0" destOrd="0" presId="urn:microsoft.com/office/officeart/2005/8/layout/bProcess4"/>
    <dgm:cxn modelId="{9EDD3490-A707-47F4-ABAA-DD11DA8C7428}" type="presOf" srcId="{37B07BA8-5DC2-403E-B4AF-4288BF3B4BA2}" destId="{E14677BE-45D9-469D-9D76-5B66CB6AB08E}" srcOrd="0" destOrd="0" presId="urn:microsoft.com/office/officeart/2005/8/layout/bProcess4"/>
    <dgm:cxn modelId="{13EA78A6-72D9-4F59-ADEB-83EC3C146F74}" srcId="{E2395F5E-BF9E-451B-8865-DFEDA06E1C76}" destId="{37B07BA8-5DC2-403E-B4AF-4288BF3B4BA2}" srcOrd="0" destOrd="0" parTransId="{989C290A-FE36-45C5-8D44-AB139E03DA6C}" sibTransId="{328C6B65-48FB-4D5D-AAC3-9BFB8D891902}"/>
    <dgm:cxn modelId="{C64778A7-A9C3-435C-9F04-EEC321C20C5E}" type="presOf" srcId="{328C6B65-48FB-4D5D-AAC3-9BFB8D891902}" destId="{5B9073CC-202D-4060-84A3-4B1BA246CB7E}" srcOrd="0" destOrd="0" presId="urn:microsoft.com/office/officeart/2005/8/layout/bProcess4"/>
    <dgm:cxn modelId="{99C483B5-C037-4AE6-ABBC-B3C03F45BDFE}" type="presOf" srcId="{00930067-E744-43CC-B6D1-3474C663F33A}" destId="{342B33D7-4A33-42DE-8D98-DD567E37B696}" srcOrd="0" destOrd="0" presId="urn:microsoft.com/office/officeart/2005/8/layout/bProcess4"/>
    <dgm:cxn modelId="{86EAB7B8-3978-42C1-8505-3674B1A3C8F2}" type="presOf" srcId="{9AAB2C35-DA47-4211-86F0-BAC988E89CEA}" destId="{C76C3609-B634-423D-A203-371757EC4E78}" srcOrd="0" destOrd="0" presId="urn:microsoft.com/office/officeart/2005/8/layout/bProcess4"/>
    <dgm:cxn modelId="{77AF77B9-8375-4281-BD70-4815837BFEF3}" srcId="{E2395F5E-BF9E-451B-8865-DFEDA06E1C76}" destId="{00930067-E744-43CC-B6D1-3474C663F33A}" srcOrd="2" destOrd="0" parTransId="{7FE4EC1A-2F90-47FE-8FA7-5AE8B27B2A73}" sibTransId="{9BD33BCD-E8FE-4586-8DA3-18F7D7473075}"/>
    <dgm:cxn modelId="{87734CE7-CC38-4405-A32F-26E2DFE267A0}" type="presOf" srcId="{DD61FAFB-E3C3-42F0-812F-635EB9A54660}" destId="{D5D144E6-07B7-4567-8C5D-53929F3B61BE}" srcOrd="0" destOrd="0" presId="urn:microsoft.com/office/officeart/2005/8/layout/bProcess4"/>
    <dgm:cxn modelId="{A2757CED-2429-437C-B28E-0A9DC3375C79}" type="presOf" srcId="{395E42F1-87C7-4CA2-8BAD-7A701AA8ED40}" destId="{5AD54734-B5DC-451A-959D-C332E6303501}" srcOrd="0" destOrd="0" presId="urn:microsoft.com/office/officeart/2005/8/layout/bProcess4"/>
    <dgm:cxn modelId="{72F443F5-417D-4DEF-BAF1-C75085720039}" srcId="{E2395F5E-BF9E-451B-8865-DFEDA06E1C76}" destId="{3CE266A6-D131-4789-9DA2-BA75C6B63051}" srcOrd="4" destOrd="0" parTransId="{2A4FC80C-B4A7-4FAF-A3DE-3AA7EF34D560}" sibTransId="{1D382441-1CD7-47A4-ACCC-FCF1C828B935}"/>
    <dgm:cxn modelId="{E6DF0BFD-419C-49CE-8CD0-49A0D30972C0}" srcId="{E2395F5E-BF9E-451B-8865-DFEDA06E1C76}" destId="{183AF72A-266A-49D3-83EE-730616A8B02F}" srcOrd="1" destOrd="0" parTransId="{3ED84E62-F3F9-436A-8512-67774D8E88A8}" sibTransId="{7E576837-25B5-40F5-B78A-96EA254C6BFE}"/>
    <dgm:cxn modelId="{8A057EA5-6386-47F2-AE01-848393EABA14}" type="presParOf" srcId="{A01BC35E-FF35-4B7B-A876-73F12C3F07DE}" destId="{4BE1B759-1656-4EF8-B13A-8D29A8364737}" srcOrd="0" destOrd="0" presId="urn:microsoft.com/office/officeart/2005/8/layout/bProcess4"/>
    <dgm:cxn modelId="{A7883DBA-1C44-4D9A-9869-28D68505966B}" type="presParOf" srcId="{4BE1B759-1656-4EF8-B13A-8D29A8364737}" destId="{DD2DCE1A-D6E0-491D-A6E4-E0427A76A8FB}" srcOrd="0" destOrd="0" presId="urn:microsoft.com/office/officeart/2005/8/layout/bProcess4"/>
    <dgm:cxn modelId="{982867F3-D648-478E-AC4F-BBA099AE5256}" type="presParOf" srcId="{4BE1B759-1656-4EF8-B13A-8D29A8364737}" destId="{E14677BE-45D9-469D-9D76-5B66CB6AB08E}" srcOrd="1" destOrd="0" presId="urn:microsoft.com/office/officeart/2005/8/layout/bProcess4"/>
    <dgm:cxn modelId="{6FEB6E45-5A60-48CE-B870-17A21BF4229C}" type="presParOf" srcId="{A01BC35E-FF35-4B7B-A876-73F12C3F07DE}" destId="{5B9073CC-202D-4060-84A3-4B1BA246CB7E}" srcOrd="1" destOrd="0" presId="urn:microsoft.com/office/officeart/2005/8/layout/bProcess4"/>
    <dgm:cxn modelId="{F1580456-8546-4854-8283-C9B8A5EED9F3}" type="presParOf" srcId="{A01BC35E-FF35-4B7B-A876-73F12C3F07DE}" destId="{CAE009E1-A48F-4CAD-94F2-0DED2DF3C410}" srcOrd="2" destOrd="0" presId="urn:microsoft.com/office/officeart/2005/8/layout/bProcess4"/>
    <dgm:cxn modelId="{D96ED809-C216-4031-990D-61D3241B87A8}" type="presParOf" srcId="{CAE009E1-A48F-4CAD-94F2-0DED2DF3C410}" destId="{D9511B94-2E3F-49F4-9131-B13BB1CEA7E7}" srcOrd="0" destOrd="0" presId="urn:microsoft.com/office/officeart/2005/8/layout/bProcess4"/>
    <dgm:cxn modelId="{5C44870B-9040-49DF-8807-89EE3BF6D900}" type="presParOf" srcId="{CAE009E1-A48F-4CAD-94F2-0DED2DF3C410}" destId="{40B4D0A3-ECB6-4762-A933-74ABF3991BE2}" srcOrd="1" destOrd="0" presId="urn:microsoft.com/office/officeart/2005/8/layout/bProcess4"/>
    <dgm:cxn modelId="{34BC24A3-643A-4E6F-8F10-8D66387AB285}" type="presParOf" srcId="{A01BC35E-FF35-4B7B-A876-73F12C3F07DE}" destId="{EDD0DB49-C8FC-4504-A2E1-461EEAF960E0}" srcOrd="3" destOrd="0" presId="urn:microsoft.com/office/officeart/2005/8/layout/bProcess4"/>
    <dgm:cxn modelId="{D15CB5F2-ED52-4CAD-9AA6-E6D47D9ADF78}" type="presParOf" srcId="{A01BC35E-FF35-4B7B-A876-73F12C3F07DE}" destId="{0AA6690C-04E8-47E5-A35F-9E19F6E283B2}" srcOrd="4" destOrd="0" presId="urn:microsoft.com/office/officeart/2005/8/layout/bProcess4"/>
    <dgm:cxn modelId="{1668443A-F8EB-48C1-A9B3-E8043CE4047C}" type="presParOf" srcId="{0AA6690C-04E8-47E5-A35F-9E19F6E283B2}" destId="{2F167AC1-0CD1-449D-BBDF-CD2CB22C8B0A}" srcOrd="0" destOrd="0" presId="urn:microsoft.com/office/officeart/2005/8/layout/bProcess4"/>
    <dgm:cxn modelId="{0B1E9BE4-4E8E-455D-BFDC-9C8DAD204221}" type="presParOf" srcId="{0AA6690C-04E8-47E5-A35F-9E19F6E283B2}" destId="{342B33D7-4A33-42DE-8D98-DD567E37B696}" srcOrd="1" destOrd="0" presId="urn:microsoft.com/office/officeart/2005/8/layout/bProcess4"/>
    <dgm:cxn modelId="{15F4C5B2-9896-40FE-B789-1731880A67D7}" type="presParOf" srcId="{A01BC35E-FF35-4B7B-A876-73F12C3F07DE}" destId="{77041C99-1CD3-439E-92CC-44559F8574A9}" srcOrd="5" destOrd="0" presId="urn:microsoft.com/office/officeart/2005/8/layout/bProcess4"/>
    <dgm:cxn modelId="{04C6FD48-2ADE-4831-8C53-432E6FC5D22B}" type="presParOf" srcId="{A01BC35E-FF35-4B7B-A876-73F12C3F07DE}" destId="{55FC8D79-3516-4D25-A7C6-F0838F07C68C}" srcOrd="6" destOrd="0" presId="urn:microsoft.com/office/officeart/2005/8/layout/bProcess4"/>
    <dgm:cxn modelId="{31BC4F0A-DB25-478B-A24A-D252AD9026A5}" type="presParOf" srcId="{55FC8D79-3516-4D25-A7C6-F0838F07C68C}" destId="{AA3450FA-99BC-4232-8637-12823ADEE84C}" srcOrd="0" destOrd="0" presId="urn:microsoft.com/office/officeart/2005/8/layout/bProcess4"/>
    <dgm:cxn modelId="{20D45479-47CE-4BA1-9B48-08B68AE89FC4}" type="presParOf" srcId="{55FC8D79-3516-4D25-A7C6-F0838F07C68C}" destId="{D5D144E6-07B7-4567-8C5D-53929F3B61BE}" srcOrd="1" destOrd="0" presId="urn:microsoft.com/office/officeart/2005/8/layout/bProcess4"/>
    <dgm:cxn modelId="{49799BC1-04C7-47E0-B88E-392F0BFEE71F}" type="presParOf" srcId="{A01BC35E-FF35-4B7B-A876-73F12C3F07DE}" destId="{C76C3609-B634-423D-A203-371757EC4E78}" srcOrd="7" destOrd="0" presId="urn:microsoft.com/office/officeart/2005/8/layout/bProcess4"/>
    <dgm:cxn modelId="{AE0A75A4-B8EF-4BBD-9CD1-49495869ED0E}" type="presParOf" srcId="{A01BC35E-FF35-4B7B-A876-73F12C3F07DE}" destId="{3FBE723F-26FC-4604-81E1-64D29C6822F2}" srcOrd="8" destOrd="0" presId="urn:microsoft.com/office/officeart/2005/8/layout/bProcess4"/>
    <dgm:cxn modelId="{4B602AE4-6CF5-4383-AEB9-BEA48E239E64}" type="presParOf" srcId="{3FBE723F-26FC-4604-81E1-64D29C6822F2}" destId="{9141B2D1-5BE9-400C-9E47-DFB7E538E81E}" srcOrd="0" destOrd="0" presId="urn:microsoft.com/office/officeart/2005/8/layout/bProcess4"/>
    <dgm:cxn modelId="{C52F48A4-A6FE-4495-B13F-F6984A738546}" type="presParOf" srcId="{3FBE723F-26FC-4604-81E1-64D29C6822F2}" destId="{49EC790B-071F-4B41-A89A-8817D6A87A6B}" srcOrd="1" destOrd="0" presId="urn:microsoft.com/office/officeart/2005/8/layout/bProcess4"/>
    <dgm:cxn modelId="{882273DA-4418-4140-836C-960D6E1B4C78}" type="presParOf" srcId="{A01BC35E-FF35-4B7B-A876-73F12C3F07DE}" destId="{6281EDED-BB46-4754-94EF-5F6298E653A0}" srcOrd="9" destOrd="0" presId="urn:microsoft.com/office/officeart/2005/8/layout/bProcess4"/>
    <dgm:cxn modelId="{3F106A26-64E9-4FCD-B16D-8C3127513FB7}" type="presParOf" srcId="{A01BC35E-FF35-4B7B-A876-73F12C3F07DE}" destId="{FD974416-9A12-44A4-B0C8-740232A141AA}" srcOrd="10" destOrd="0" presId="urn:microsoft.com/office/officeart/2005/8/layout/bProcess4"/>
    <dgm:cxn modelId="{A6DF8534-952D-4FEF-BE8B-E1CD51E84B7B}" type="presParOf" srcId="{FD974416-9A12-44A4-B0C8-740232A141AA}" destId="{F967E9FD-0230-4E0B-983A-F81B70DBD6C1}" srcOrd="0" destOrd="0" presId="urn:microsoft.com/office/officeart/2005/8/layout/bProcess4"/>
    <dgm:cxn modelId="{769A681F-F9E2-4CED-8A66-4E9E194F2520}" type="presParOf" srcId="{FD974416-9A12-44A4-B0C8-740232A141AA}" destId="{5AD54734-B5DC-451A-959D-C332E6303501}" srcOrd="1" destOrd="0" presId="urn:microsoft.com/office/officeart/2005/8/layout/b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2395F5E-BF9E-451B-8865-DFEDA06E1C76}" type="doc">
      <dgm:prSet loTypeId="urn:microsoft.com/office/officeart/2005/8/layout/bProcess4" loCatId="process" qsTypeId="urn:microsoft.com/office/officeart/2005/8/quickstyle/simple1" qsCatId="simple" csTypeId="urn:microsoft.com/office/officeart/2005/8/colors/accent1_1" csCatId="accent1" phldr="1"/>
      <dgm:spPr/>
      <dgm:t>
        <a:bodyPr/>
        <a:lstStyle/>
        <a:p>
          <a:endParaRPr lang="es-CL"/>
        </a:p>
      </dgm:t>
    </dgm:pt>
    <dgm:pt modelId="{37B07BA8-5DC2-403E-B4AF-4288BF3B4BA2}">
      <dgm:prSet phldrT="[Texto]" custT="1"/>
      <dgm:spPr/>
      <dgm:t>
        <a:bodyPr/>
        <a:lstStyle/>
        <a:p>
          <a:r>
            <a:rPr lang="es-MX" sz="1400" b="0" i="0" dirty="0"/>
            <a:t>Artículo 113º.- Las y los profesionales de la salud son aquellas personas que poseen el </a:t>
          </a:r>
          <a:r>
            <a:rPr lang="es-MX" sz="1400" b="1" i="0" dirty="0"/>
            <a:t>título profesional respectivo otorgado por la Universidad de Chile u otra universidad del Estado o reconocida por este</a:t>
          </a:r>
          <a:r>
            <a:rPr lang="es-MX" sz="1400" b="0" i="0" dirty="0"/>
            <a:t>, que estén habilitadas legalmente para el ejercicio de sus profesiones; y que desempeñan actividades propias de las profesiones señaladas en el Título II siguiente.</a:t>
          </a:r>
          <a:endParaRPr lang="es-CL" sz="1400" dirty="0"/>
        </a:p>
      </dgm:t>
    </dgm:pt>
    <dgm:pt modelId="{989C290A-FE36-45C5-8D44-AB139E03DA6C}" type="parTrans" cxnId="{13EA78A6-72D9-4F59-ADEB-83EC3C146F74}">
      <dgm:prSet/>
      <dgm:spPr/>
      <dgm:t>
        <a:bodyPr/>
        <a:lstStyle/>
        <a:p>
          <a:endParaRPr lang="es-CL" sz="4000"/>
        </a:p>
      </dgm:t>
    </dgm:pt>
    <dgm:pt modelId="{328C6B65-48FB-4D5D-AAC3-9BFB8D891902}" type="sibTrans" cxnId="{13EA78A6-72D9-4F59-ADEB-83EC3C146F74}">
      <dgm:prSet/>
      <dgm:spPr/>
      <dgm:t>
        <a:bodyPr/>
        <a:lstStyle/>
        <a:p>
          <a:endParaRPr lang="es-CL" sz="4000"/>
        </a:p>
      </dgm:t>
    </dgm:pt>
    <dgm:pt modelId="{183AF72A-266A-49D3-83EE-730616A8B02F}">
      <dgm:prSet phldrT="[Texto]" custT="1"/>
      <dgm:spPr/>
      <dgm:t>
        <a:bodyPr/>
        <a:lstStyle/>
        <a:p>
          <a:r>
            <a:rPr lang="es-MX" sz="1400" b="0" i="0"/>
            <a:t>Las y los técnicos de la salud son aquellas personas que poseen el título de técnico de nivel superior o medio, otorgado por una institución de educación superior o medio, según corresponda, del Estado o reconocida por éste, y que se encuentran legalmente habilitadas para desempeñar las actividades propias de las y los técnicos mencionados en este libro.</a:t>
          </a:r>
          <a:endParaRPr lang="es-CL" sz="1400" dirty="0"/>
        </a:p>
      </dgm:t>
    </dgm:pt>
    <dgm:pt modelId="{3ED84E62-F3F9-436A-8512-67774D8E88A8}" type="parTrans" cxnId="{E6DF0BFD-419C-49CE-8CD0-49A0D30972C0}">
      <dgm:prSet/>
      <dgm:spPr/>
      <dgm:t>
        <a:bodyPr/>
        <a:lstStyle/>
        <a:p>
          <a:endParaRPr lang="es-CL" sz="4000"/>
        </a:p>
      </dgm:t>
    </dgm:pt>
    <dgm:pt modelId="{7E576837-25B5-40F5-B78A-96EA254C6BFE}" type="sibTrans" cxnId="{E6DF0BFD-419C-49CE-8CD0-49A0D30972C0}">
      <dgm:prSet/>
      <dgm:spPr/>
      <dgm:t>
        <a:bodyPr/>
        <a:lstStyle/>
        <a:p>
          <a:endParaRPr lang="es-CL" sz="4000"/>
        </a:p>
      </dgm:t>
    </dgm:pt>
    <dgm:pt modelId="{D7E5F873-205C-4C89-A4F0-61F92A276D54}">
      <dgm:prSet phldrT="[Texto]" custT="1"/>
      <dgm:spPr/>
      <dgm:t>
        <a:bodyPr/>
        <a:lstStyle/>
        <a:p>
          <a:r>
            <a:rPr lang="es-MX" sz="1400" b="0" i="0" dirty="0"/>
            <a:t>Respecto de las y los técnicos de salud de nivel medio, el Ministerio de Salud dictará un decreto supremo suscrito además, por el Ministerio de Educación, en el cual establecerá las especialidades que podrán ser consideradas como técnicos de la salud de dicho nivel. Para ello, deberá tener en consideración las especialidades incluidas en las bases curriculares vigentes. Las y los técnicos de salud de nivel medio deberán contar con un título de alguna de dichas especialidades, de acuerdo con la normativa vigente. El Ministerio de Educación deberá coordinarse con el Ministerio de Salud en los procesos de actualización y modificación de las bases curriculares y programas de estudio de dichas especialidades.</a:t>
          </a:r>
          <a:endParaRPr lang="es-CL" sz="1400" dirty="0"/>
        </a:p>
      </dgm:t>
    </dgm:pt>
    <dgm:pt modelId="{9457B03A-9CFB-4B78-B519-719813FE2CF4}" type="parTrans" cxnId="{A7B01A21-84EC-4645-8EBD-D8EC52476C23}">
      <dgm:prSet/>
      <dgm:spPr/>
      <dgm:t>
        <a:bodyPr/>
        <a:lstStyle/>
        <a:p>
          <a:endParaRPr lang="es-CL" sz="2000"/>
        </a:p>
      </dgm:t>
    </dgm:pt>
    <dgm:pt modelId="{856B8FAE-A25F-48AD-A018-330AE4BE5921}" type="sibTrans" cxnId="{A7B01A21-84EC-4645-8EBD-D8EC52476C23}">
      <dgm:prSet/>
      <dgm:spPr/>
      <dgm:t>
        <a:bodyPr/>
        <a:lstStyle/>
        <a:p>
          <a:endParaRPr lang="es-CL" sz="2000"/>
        </a:p>
      </dgm:t>
    </dgm:pt>
    <dgm:pt modelId="{918F5964-55E5-4374-8265-7268D966949E}">
      <dgm:prSet phldrT="[Texto]" custT="1"/>
      <dgm:spPr/>
      <dgm:t>
        <a:bodyPr/>
        <a:lstStyle/>
        <a:p>
          <a:r>
            <a:rPr lang="es-MX" sz="1400" b="0" i="0"/>
            <a:t>Las y los auxiliares de la salud son aquellas personas que cuentan con autorización de la Secretaría Regional Ministerial de Salud respectiva, según los requisitos, formas y condiciones exigidas en los reglamentos dictados por el Ministerio de Salud. La autorización será permanente a menos que, por resolución fundada, dicha autoridad disponga su cancelación.</a:t>
          </a:r>
          <a:endParaRPr lang="es-CL" sz="1400" dirty="0"/>
        </a:p>
      </dgm:t>
    </dgm:pt>
    <dgm:pt modelId="{7202E7FF-38E5-4616-A4FC-CB655105538E}" type="parTrans" cxnId="{F6DCC854-4ADE-42EB-B326-12524B6F1C4B}">
      <dgm:prSet/>
      <dgm:spPr/>
      <dgm:t>
        <a:bodyPr/>
        <a:lstStyle/>
        <a:p>
          <a:endParaRPr lang="es-CL" sz="2000"/>
        </a:p>
      </dgm:t>
    </dgm:pt>
    <dgm:pt modelId="{70B5082B-209D-458D-8D64-5B06264F7A65}" type="sibTrans" cxnId="{F6DCC854-4ADE-42EB-B326-12524B6F1C4B}">
      <dgm:prSet/>
      <dgm:spPr/>
      <dgm:t>
        <a:bodyPr/>
        <a:lstStyle/>
        <a:p>
          <a:endParaRPr lang="es-CL" sz="2000"/>
        </a:p>
      </dgm:t>
    </dgm:pt>
    <dgm:pt modelId="{A01BC35E-FF35-4B7B-A876-73F12C3F07DE}" type="pres">
      <dgm:prSet presAssocID="{E2395F5E-BF9E-451B-8865-DFEDA06E1C76}" presName="Name0" presStyleCnt="0">
        <dgm:presLayoutVars>
          <dgm:dir/>
          <dgm:resizeHandles/>
        </dgm:presLayoutVars>
      </dgm:prSet>
      <dgm:spPr/>
    </dgm:pt>
    <dgm:pt modelId="{4BE1B759-1656-4EF8-B13A-8D29A8364737}" type="pres">
      <dgm:prSet presAssocID="{37B07BA8-5DC2-403E-B4AF-4288BF3B4BA2}" presName="compNode" presStyleCnt="0"/>
      <dgm:spPr/>
    </dgm:pt>
    <dgm:pt modelId="{DD2DCE1A-D6E0-491D-A6E4-E0427A76A8FB}" type="pres">
      <dgm:prSet presAssocID="{37B07BA8-5DC2-403E-B4AF-4288BF3B4BA2}" presName="dummyConnPt" presStyleCnt="0"/>
      <dgm:spPr/>
    </dgm:pt>
    <dgm:pt modelId="{E14677BE-45D9-469D-9D76-5B66CB6AB08E}" type="pres">
      <dgm:prSet presAssocID="{37B07BA8-5DC2-403E-B4AF-4288BF3B4BA2}" presName="node" presStyleLbl="node1" presStyleIdx="0" presStyleCnt="4" custScaleX="173971" custLinFactNeighborX="976" custLinFactNeighborY="-8975">
        <dgm:presLayoutVars>
          <dgm:bulletEnabled val="1"/>
        </dgm:presLayoutVars>
      </dgm:prSet>
      <dgm:spPr/>
    </dgm:pt>
    <dgm:pt modelId="{5B9073CC-202D-4060-84A3-4B1BA246CB7E}" type="pres">
      <dgm:prSet presAssocID="{328C6B65-48FB-4D5D-AAC3-9BFB8D891902}" presName="sibTrans" presStyleLbl="bgSibTrans2D1" presStyleIdx="0" presStyleCnt="3"/>
      <dgm:spPr/>
    </dgm:pt>
    <dgm:pt modelId="{CAE009E1-A48F-4CAD-94F2-0DED2DF3C410}" type="pres">
      <dgm:prSet presAssocID="{183AF72A-266A-49D3-83EE-730616A8B02F}" presName="compNode" presStyleCnt="0"/>
      <dgm:spPr/>
    </dgm:pt>
    <dgm:pt modelId="{D9511B94-2E3F-49F4-9131-B13BB1CEA7E7}" type="pres">
      <dgm:prSet presAssocID="{183AF72A-266A-49D3-83EE-730616A8B02F}" presName="dummyConnPt" presStyleCnt="0"/>
      <dgm:spPr/>
    </dgm:pt>
    <dgm:pt modelId="{40B4D0A3-ECB6-4762-A933-74ABF3991BE2}" type="pres">
      <dgm:prSet presAssocID="{183AF72A-266A-49D3-83EE-730616A8B02F}" presName="node" presStyleLbl="node1" presStyleIdx="1" presStyleCnt="4" custScaleX="172255" custScaleY="178773" custLinFactNeighborX="2766" custLinFactNeighborY="4759">
        <dgm:presLayoutVars>
          <dgm:bulletEnabled val="1"/>
        </dgm:presLayoutVars>
      </dgm:prSet>
      <dgm:spPr/>
    </dgm:pt>
    <dgm:pt modelId="{371E1143-D8D1-4785-AFAF-CCE8BE5686F5}" type="pres">
      <dgm:prSet presAssocID="{7E576837-25B5-40F5-B78A-96EA254C6BFE}" presName="sibTrans" presStyleLbl="bgSibTrans2D1" presStyleIdx="1" presStyleCnt="3"/>
      <dgm:spPr/>
    </dgm:pt>
    <dgm:pt modelId="{EA0A8B1E-BE56-4CBE-88DE-75AFD306D731}" type="pres">
      <dgm:prSet presAssocID="{D7E5F873-205C-4C89-A4F0-61F92A276D54}" presName="compNode" presStyleCnt="0"/>
      <dgm:spPr/>
    </dgm:pt>
    <dgm:pt modelId="{88B90BF9-0E25-4C08-A795-ECD9C1043D6D}" type="pres">
      <dgm:prSet presAssocID="{D7E5F873-205C-4C89-A4F0-61F92A276D54}" presName="dummyConnPt" presStyleCnt="0"/>
      <dgm:spPr/>
    </dgm:pt>
    <dgm:pt modelId="{02E6B955-F736-4F4D-8DC6-0320EBF2ACF6}" type="pres">
      <dgm:prSet presAssocID="{D7E5F873-205C-4C89-A4F0-61F92A276D54}" presName="node" presStyleLbl="node1" presStyleIdx="2" presStyleCnt="4" custScaleX="192146" custScaleY="197093">
        <dgm:presLayoutVars>
          <dgm:bulletEnabled val="1"/>
        </dgm:presLayoutVars>
      </dgm:prSet>
      <dgm:spPr/>
    </dgm:pt>
    <dgm:pt modelId="{7F8B0E4D-483D-4AB3-8E70-A3C37D61F1EE}" type="pres">
      <dgm:prSet presAssocID="{856B8FAE-A25F-48AD-A018-330AE4BE5921}" presName="sibTrans" presStyleLbl="bgSibTrans2D1" presStyleIdx="2" presStyleCnt="3"/>
      <dgm:spPr/>
    </dgm:pt>
    <dgm:pt modelId="{70F7C8EA-AA12-4145-A75E-ADC9FBF9A9BB}" type="pres">
      <dgm:prSet presAssocID="{918F5964-55E5-4374-8265-7268D966949E}" presName="compNode" presStyleCnt="0"/>
      <dgm:spPr/>
    </dgm:pt>
    <dgm:pt modelId="{2C70A26A-8A8D-49F8-BADB-1EA49204576C}" type="pres">
      <dgm:prSet presAssocID="{918F5964-55E5-4374-8265-7268D966949E}" presName="dummyConnPt" presStyleCnt="0"/>
      <dgm:spPr/>
    </dgm:pt>
    <dgm:pt modelId="{9C2D05F8-0C12-452F-911F-A6DFDD9293C2}" type="pres">
      <dgm:prSet presAssocID="{918F5964-55E5-4374-8265-7268D966949E}" presName="node" presStyleLbl="node1" presStyleIdx="3" presStyleCnt="4" custScaleX="192861" custScaleY="92411" custLinFactNeighborX="-1289" custLinFactNeighborY="-831">
        <dgm:presLayoutVars>
          <dgm:bulletEnabled val="1"/>
        </dgm:presLayoutVars>
      </dgm:prSet>
      <dgm:spPr/>
    </dgm:pt>
  </dgm:ptLst>
  <dgm:cxnLst>
    <dgm:cxn modelId="{89A1CB0B-692E-406F-8F9C-FF0AED63BCE8}" type="presOf" srcId="{E2395F5E-BF9E-451B-8865-DFEDA06E1C76}" destId="{A01BC35E-FF35-4B7B-A876-73F12C3F07DE}" srcOrd="0" destOrd="0" presId="urn:microsoft.com/office/officeart/2005/8/layout/bProcess4"/>
    <dgm:cxn modelId="{A7B01A21-84EC-4645-8EBD-D8EC52476C23}" srcId="{E2395F5E-BF9E-451B-8865-DFEDA06E1C76}" destId="{D7E5F873-205C-4C89-A4F0-61F92A276D54}" srcOrd="2" destOrd="0" parTransId="{9457B03A-9CFB-4B78-B519-719813FE2CF4}" sibTransId="{856B8FAE-A25F-48AD-A018-330AE4BE5921}"/>
    <dgm:cxn modelId="{F1780B33-2FF9-4BB6-8FE3-911F62ACC122}" type="presOf" srcId="{D7E5F873-205C-4C89-A4F0-61F92A276D54}" destId="{02E6B955-F736-4F4D-8DC6-0320EBF2ACF6}" srcOrd="0" destOrd="0" presId="urn:microsoft.com/office/officeart/2005/8/layout/bProcess4"/>
    <dgm:cxn modelId="{0AE5BC3B-A2AE-4D37-B2AF-A251F117A3DD}" type="presOf" srcId="{183AF72A-266A-49D3-83EE-730616A8B02F}" destId="{40B4D0A3-ECB6-4762-A933-74ABF3991BE2}" srcOrd="0" destOrd="0" presId="urn:microsoft.com/office/officeart/2005/8/layout/bProcess4"/>
    <dgm:cxn modelId="{F6DCC854-4ADE-42EB-B326-12524B6F1C4B}" srcId="{E2395F5E-BF9E-451B-8865-DFEDA06E1C76}" destId="{918F5964-55E5-4374-8265-7268D966949E}" srcOrd="3" destOrd="0" parTransId="{7202E7FF-38E5-4616-A4FC-CB655105538E}" sibTransId="{70B5082B-209D-458D-8D64-5B06264F7A65}"/>
    <dgm:cxn modelId="{E2208680-18C9-4527-908D-C9CB4C60AC1E}" type="presOf" srcId="{7E576837-25B5-40F5-B78A-96EA254C6BFE}" destId="{371E1143-D8D1-4785-AFAF-CCE8BE5686F5}" srcOrd="0" destOrd="0" presId="urn:microsoft.com/office/officeart/2005/8/layout/bProcess4"/>
    <dgm:cxn modelId="{DAD62581-EA6E-4712-AF57-1A8858FF2B17}" type="presOf" srcId="{856B8FAE-A25F-48AD-A018-330AE4BE5921}" destId="{7F8B0E4D-483D-4AB3-8E70-A3C37D61F1EE}" srcOrd="0" destOrd="0" presId="urn:microsoft.com/office/officeart/2005/8/layout/bProcess4"/>
    <dgm:cxn modelId="{F0779785-D4F2-4A95-A6C0-9012657C62D1}" type="presOf" srcId="{918F5964-55E5-4374-8265-7268D966949E}" destId="{9C2D05F8-0C12-452F-911F-A6DFDD9293C2}" srcOrd="0" destOrd="0" presId="urn:microsoft.com/office/officeart/2005/8/layout/bProcess4"/>
    <dgm:cxn modelId="{9EDD3490-A707-47F4-ABAA-DD11DA8C7428}" type="presOf" srcId="{37B07BA8-5DC2-403E-B4AF-4288BF3B4BA2}" destId="{E14677BE-45D9-469D-9D76-5B66CB6AB08E}" srcOrd="0" destOrd="0" presId="urn:microsoft.com/office/officeart/2005/8/layout/bProcess4"/>
    <dgm:cxn modelId="{13EA78A6-72D9-4F59-ADEB-83EC3C146F74}" srcId="{E2395F5E-BF9E-451B-8865-DFEDA06E1C76}" destId="{37B07BA8-5DC2-403E-B4AF-4288BF3B4BA2}" srcOrd="0" destOrd="0" parTransId="{989C290A-FE36-45C5-8D44-AB139E03DA6C}" sibTransId="{328C6B65-48FB-4D5D-AAC3-9BFB8D891902}"/>
    <dgm:cxn modelId="{C64778A7-A9C3-435C-9F04-EEC321C20C5E}" type="presOf" srcId="{328C6B65-48FB-4D5D-AAC3-9BFB8D891902}" destId="{5B9073CC-202D-4060-84A3-4B1BA246CB7E}" srcOrd="0" destOrd="0" presId="urn:microsoft.com/office/officeart/2005/8/layout/bProcess4"/>
    <dgm:cxn modelId="{E6DF0BFD-419C-49CE-8CD0-49A0D30972C0}" srcId="{E2395F5E-BF9E-451B-8865-DFEDA06E1C76}" destId="{183AF72A-266A-49D3-83EE-730616A8B02F}" srcOrd="1" destOrd="0" parTransId="{3ED84E62-F3F9-436A-8512-67774D8E88A8}" sibTransId="{7E576837-25B5-40F5-B78A-96EA254C6BFE}"/>
    <dgm:cxn modelId="{8A057EA5-6386-47F2-AE01-848393EABA14}" type="presParOf" srcId="{A01BC35E-FF35-4B7B-A876-73F12C3F07DE}" destId="{4BE1B759-1656-4EF8-B13A-8D29A8364737}" srcOrd="0" destOrd="0" presId="urn:microsoft.com/office/officeart/2005/8/layout/bProcess4"/>
    <dgm:cxn modelId="{A7883DBA-1C44-4D9A-9869-28D68505966B}" type="presParOf" srcId="{4BE1B759-1656-4EF8-B13A-8D29A8364737}" destId="{DD2DCE1A-D6E0-491D-A6E4-E0427A76A8FB}" srcOrd="0" destOrd="0" presId="urn:microsoft.com/office/officeart/2005/8/layout/bProcess4"/>
    <dgm:cxn modelId="{982867F3-D648-478E-AC4F-BBA099AE5256}" type="presParOf" srcId="{4BE1B759-1656-4EF8-B13A-8D29A8364737}" destId="{E14677BE-45D9-469D-9D76-5B66CB6AB08E}" srcOrd="1" destOrd="0" presId="urn:microsoft.com/office/officeart/2005/8/layout/bProcess4"/>
    <dgm:cxn modelId="{6FEB6E45-5A60-48CE-B870-17A21BF4229C}" type="presParOf" srcId="{A01BC35E-FF35-4B7B-A876-73F12C3F07DE}" destId="{5B9073CC-202D-4060-84A3-4B1BA246CB7E}" srcOrd="1" destOrd="0" presId="urn:microsoft.com/office/officeart/2005/8/layout/bProcess4"/>
    <dgm:cxn modelId="{F1580456-8546-4854-8283-C9B8A5EED9F3}" type="presParOf" srcId="{A01BC35E-FF35-4B7B-A876-73F12C3F07DE}" destId="{CAE009E1-A48F-4CAD-94F2-0DED2DF3C410}" srcOrd="2" destOrd="0" presId="urn:microsoft.com/office/officeart/2005/8/layout/bProcess4"/>
    <dgm:cxn modelId="{D96ED809-C216-4031-990D-61D3241B87A8}" type="presParOf" srcId="{CAE009E1-A48F-4CAD-94F2-0DED2DF3C410}" destId="{D9511B94-2E3F-49F4-9131-B13BB1CEA7E7}" srcOrd="0" destOrd="0" presId="urn:microsoft.com/office/officeart/2005/8/layout/bProcess4"/>
    <dgm:cxn modelId="{5C44870B-9040-49DF-8807-89EE3BF6D900}" type="presParOf" srcId="{CAE009E1-A48F-4CAD-94F2-0DED2DF3C410}" destId="{40B4D0A3-ECB6-4762-A933-74ABF3991BE2}" srcOrd="1" destOrd="0" presId="urn:microsoft.com/office/officeart/2005/8/layout/bProcess4"/>
    <dgm:cxn modelId="{A4090C38-16B9-48A9-99F6-998F19D7F7C9}" type="presParOf" srcId="{A01BC35E-FF35-4B7B-A876-73F12C3F07DE}" destId="{371E1143-D8D1-4785-AFAF-CCE8BE5686F5}" srcOrd="3" destOrd="0" presId="urn:microsoft.com/office/officeart/2005/8/layout/bProcess4"/>
    <dgm:cxn modelId="{DE0A8C8C-F242-4003-8311-D3AF6F1C646C}" type="presParOf" srcId="{A01BC35E-FF35-4B7B-A876-73F12C3F07DE}" destId="{EA0A8B1E-BE56-4CBE-88DE-75AFD306D731}" srcOrd="4" destOrd="0" presId="urn:microsoft.com/office/officeart/2005/8/layout/bProcess4"/>
    <dgm:cxn modelId="{5DBDE423-303C-4800-9A17-2E57E4C8120E}" type="presParOf" srcId="{EA0A8B1E-BE56-4CBE-88DE-75AFD306D731}" destId="{88B90BF9-0E25-4C08-A795-ECD9C1043D6D}" srcOrd="0" destOrd="0" presId="urn:microsoft.com/office/officeart/2005/8/layout/bProcess4"/>
    <dgm:cxn modelId="{570F6121-B1FC-4261-87DD-746780C088A7}" type="presParOf" srcId="{EA0A8B1E-BE56-4CBE-88DE-75AFD306D731}" destId="{02E6B955-F736-4F4D-8DC6-0320EBF2ACF6}" srcOrd="1" destOrd="0" presId="urn:microsoft.com/office/officeart/2005/8/layout/bProcess4"/>
    <dgm:cxn modelId="{066F547C-7E4D-4FAC-A75A-0C8FC947786B}" type="presParOf" srcId="{A01BC35E-FF35-4B7B-A876-73F12C3F07DE}" destId="{7F8B0E4D-483D-4AB3-8E70-A3C37D61F1EE}" srcOrd="5" destOrd="0" presId="urn:microsoft.com/office/officeart/2005/8/layout/bProcess4"/>
    <dgm:cxn modelId="{40F564BA-FEE2-4E04-95B7-B07F99376FA8}" type="presParOf" srcId="{A01BC35E-FF35-4B7B-A876-73F12C3F07DE}" destId="{70F7C8EA-AA12-4145-A75E-ADC9FBF9A9BB}" srcOrd="6" destOrd="0" presId="urn:microsoft.com/office/officeart/2005/8/layout/bProcess4"/>
    <dgm:cxn modelId="{1DA27C6D-8614-4691-BEA3-1E4A9C6AF1A8}" type="presParOf" srcId="{70F7C8EA-AA12-4145-A75E-ADC9FBF9A9BB}" destId="{2C70A26A-8A8D-49F8-BADB-1EA49204576C}" srcOrd="0" destOrd="0" presId="urn:microsoft.com/office/officeart/2005/8/layout/bProcess4"/>
    <dgm:cxn modelId="{9CE9AAD2-3273-4EF0-8508-C220D1694A96}" type="presParOf" srcId="{70F7C8EA-AA12-4145-A75E-ADC9FBF9A9BB}" destId="{9C2D05F8-0C12-452F-911F-A6DFDD9293C2}" srcOrd="1" destOrd="0" presId="urn:microsoft.com/office/officeart/2005/8/layout/b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E874FD9-0161-4522-88F1-B2415FA823C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CL"/>
        </a:p>
      </dgm:t>
    </dgm:pt>
    <dgm:pt modelId="{0BDB2C96-7328-4C38-80DD-11045274FA0D}">
      <dgm:prSet phldrT="[Texto]"/>
      <dgm:spPr/>
      <dgm:t>
        <a:bodyPr/>
        <a:lstStyle/>
        <a:p>
          <a:r>
            <a:rPr lang="es-CL" dirty="0"/>
            <a:t>BIOQUÍMICA</a:t>
          </a:r>
        </a:p>
      </dgm:t>
    </dgm:pt>
    <dgm:pt modelId="{164C667E-4F97-4E1F-A44F-86B7889C7B63}" type="parTrans" cxnId="{518B1E94-8926-4E1F-B031-C32E466DF544}">
      <dgm:prSet/>
      <dgm:spPr/>
      <dgm:t>
        <a:bodyPr/>
        <a:lstStyle/>
        <a:p>
          <a:endParaRPr lang="es-CL"/>
        </a:p>
      </dgm:t>
    </dgm:pt>
    <dgm:pt modelId="{C988B7E8-D776-441A-97B6-D2B9961A5FEC}" type="sibTrans" cxnId="{518B1E94-8926-4E1F-B031-C32E466DF544}">
      <dgm:prSet/>
      <dgm:spPr/>
      <dgm:t>
        <a:bodyPr/>
        <a:lstStyle/>
        <a:p>
          <a:endParaRPr lang="es-CL"/>
        </a:p>
      </dgm:t>
    </dgm:pt>
    <dgm:pt modelId="{46CC23D6-3B57-40D3-91F7-464046584573}">
      <dgm:prSet phldrT="[Texto]"/>
      <dgm:spPr>
        <a:solidFill>
          <a:srgbClr val="C00000"/>
        </a:solidFill>
      </dgm:spPr>
      <dgm:t>
        <a:bodyPr/>
        <a:lstStyle/>
        <a:p>
          <a:r>
            <a:rPr lang="es-CL" dirty="0"/>
            <a:t>ENFERMERÍA</a:t>
          </a:r>
        </a:p>
      </dgm:t>
    </dgm:pt>
    <dgm:pt modelId="{8A25D0B4-0EA2-4489-9E22-D46A821B513C}" type="parTrans" cxnId="{08FFD7E4-9767-4178-951F-3E4EB455715F}">
      <dgm:prSet/>
      <dgm:spPr/>
      <dgm:t>
        <a:bodyPr/>
        <a:lstStyle/>
        <a:p>
          <a:endParaRPr lang="es-CL"/>
        </a:p>
      </dgm:t>
    </dgm:pt>
    <dgm:pt modelId="{3A3D9006-08E5-43AA-B2F5-12AA47155D55}" type="sibTrans" cxnId="{08FFD7E4-9767-4178-951F-3E4EB455715F}">
      <dgm:prSet/>
      <dgm:spPr/>
      <dgm:t>
        <a:bodyPr/>
        <a:lstStyle/>
        <a:p>
          <a:endParaRPr lang="es-CL"/>
        </a:p>
      </dgm:t>
    </dgm:pt>
    <dgm:pt modelId="{70F7FDC2-6985-4BA9-B50B-02CE94C64DBB}">
      <dgm:prSet phldrT="[Texto]"/>
      <dgm:spPr/>
      <dgm:t>
        <a:bodyPr/>
        <a:lstStyle/>
        <a:p>
          <a:r>
            <a:rPr lang="es-CL" dirty="0"/>
            <a:t>FONOAUDIOLOGÍA</a:t>
          </a:r>
        </a:p>
      </dgm:t>
    </dgm:pt>
    <dgm:pt modelId="{F68B3F3A-E390-4751-B403-81ACF99FB300}" type="parTrans" cxnId="{494E4948-3C16-4E45-AF37-920E0FDC51AD}">
      <dgm:prSet/>
      <dgm:spPr/>
      <dgm:t>
        <a:bodyPr/>
        <a:lstStyle/>
        <a:p>
          <a:endParaRPr lang="es-CL"/>
        </a:p>
      </dgm:t>
    </dgm:pt>
    <dgm:pt modelId="{AD06918E-B929-466C-8387-48077870E2F5}" type="sibTrans" cxnId="{494E4948-3C16-4E45-AF37-920E0FDC51AD}">
      <dgm:prSet/>
      <dgm:spPr/>
      <dgm:t>
        <a:bodyPr/>
        <a:lstStyle/>
        <a:p>
          <a:endParaRPr lang="es-CL"/>
        </a:p>
      </dgm:t>
    </dgm:pt>
    <dgm:pt modelId="{B7B9EF15-4AE8-48C1-B3E9-1E94281240FD}">
      <dgm:prSet phldrT="[Texto]"/>
      <dgm:spPr/>
      <dgm:t>
        <a:bodyPr/>
        <a:lstStyle/>
        <a:p>
          <a:r>
            <a:rPr lang="es-CL" dirty="0"/>
            <a:t>KINESIOLOGÍA</a:t>
          </a:r>
        </a:p>
      </dgm:t>
    </dgm:pt>
    <dgm:pt modelId="{18E8762A-F9D6-4973-906A-69F0AD57F576}" type="parTrans" cxnId="{EE860212-A160-4A4E-9349-34A2BAF69963}">
      <dgm:prSet/>
      <dgm:spPr/>
      <dgm:t>
        <a:bodyPr/>
        <a:lstStyle/>
        <a:p>
          <a:endParaRPr lang="es-CL"/>
        </a:p>
      </dgm:t>
    </dgm:pt>
    <dgm:pt modelId="{E0567EF7-B0E5-4EDE-A1DD-C138116DD7A8}" type="sibTrans" cxnId="{EE860212-A160-4A4E-9349-34A2BAF69963}">
      <dgm:prSet/>
      <dgm:spPr/>
      <dgm:t>
        <a:bodyPr/>
        <a:lstStyle/>
        <a:p>
          <a:endParaRPr lang="es-CL"/>
        </a:p>
      </dgm:t>
    </dgm:pt>
    <dgm:pt modelId="{5051808F-41E2-48C4-9060-600D155E8F80}">
      <dgm:prSet phldrT="[Texto]"/>
      <dgm:spPr>
        <a:solidFill>
          <a:srgbClr val="C00000"/>
        </a:solidFill>
      </dgm:spPr>
      <dgm:t>
        <a:bodyPr/>
        <a:lstStyle/>
        <a:p>
          <a:r>
            <a:rPr lang="es-CL" dirty="0"/>
            <a:t>MATRONERÍA</a:t>
          </a:r>
        </a:p>
      </dgm:t>
    </dgm:pt>
    <dgm:pt modelId="{5613030E-2026-4DFE-A06D-21BCE923D1EE}" type="parTrans" cxnId="{138C4261-3C8D-43ED-B4C3-BD0A98037BE8}">
      <dgm:prSet/>
      <dgm:spPr/>
      <dgm:t>
        <a:bodyPr/>
        <a:lstStyle/>
        <a:p>
          <a:endParaRPr lang="es-CL"/>
        </a:p>
      </dgm:t>
    </dgm:pt>
    <dgm:pt modelId="{8145017D-86CE-4E0C-81FC-8530D9F0326A}" type="sibTrans" cxnId="{138C4261-3C8D-43ED-B4C3-BD0A98037BE8}">
      <dgm:prSet/>
      <dgm:spPr/>
      <dgm:t>
        <a:bodyPr/>
        <a:lstStyle/>
        <a:p>
          <a:endParaRPr lang="es-CL"/>
        </a:p>
      </dgm:t>
    </dgm:pt>
    <dgm:pt modelId="{6CA5246C-1974-424B-B053-A488AE7A9CC8}" type="pres">
      <dgm:prSet presAssocID="{FE874FD9-0161-4522-88F1-B2415FA823CE}" presName="linear" presStyleCnt="0">
        <dgm:presLayoutVars>
          <dgm:dir/>
          <dgm:animLvl val="lvl"/>
          <dgm:resizeHandles val="exact"/>
        </dgm:presLayoutVars>
      </dgm:prSet>
      <dgm:spPr/>
    </dgm:pt>
    <dgm:pt modelId="{17CF2504-43CA-4C1C-81D2-1A7F022FE502}" type="pres">
      <dgm:prSet presAssocID="{0BDB2C96-7328-4C38-80DD-11045274FA0D}" presName="parentLin" presStyleCnt="0"/>
      <dgm:spPr/>
    </dgm:pt>
    <dgm:pt modelId="{90C20E78-EE46-4056-84D4-DEBD79F06EF1}" type="pres">
      <dgm:prSet presAssocID="{0BDB2C96-7328-4C38-80DD-11045274FA0D}" presName="parentLeftMargin" presStyleLbl="node1" presStyleIdx="0" presStyleCnt="5"/>
      <dgm:spPr/>
    </dgm:pt>
    <dgm:pt modelId="{EEEFF6E9-D472-4E6A-8E13-F7B16B278C72}" type="pres">
      <dgm:prSet presAssocID="{0BDB2C96-7328-4C38-80DD-11045274FA0D}" presName="parentText" presStyleLbl="node1" presStyleIdx="0" presStyleCnt="5">
        <dgm:presLayoutVars>
          <dgm:chMax val="0"/>
          <dgm:bulletEnabled val="1"/>
        </dgm:presLayoutVars>
      </dgm:prSet>
      <dgm:spPr/>
    </dgm:pt>
    <dgm:pt modelId="{9F305785-D28C-475D-88A8-9E7ED308E8E8}" type="pres">
      <dgm:prSet presAssocID="{0BDB2C96-7328-4C38-80DD-11045274FA0D}" presName="negativeSpace" presStyleCnt="0"/>
      <dgm:spPr/>
    </dgm:pt>
    <dgm:pt modelId="{E5723921-3EC5-4EF1-913F-9784C9329F5D}" type="pres">
      <dgm:prSet presAssocID="{0BDB2C96-7328-4C38-80DD-11045274FA0D}" presName="childText" presStyleLbl="conFgAcc1" presStyleIdx="0" presStyleCnt="5">
        <dgm:presLayoutVars>
          <dgm:bulletEnabled val="1"/>
        </dgm:presLayoutVars>
      </dgm:prSet>
      <dgm:spPr/>
    </dgm:pt>
    <dgm:pt modelId="{21BA7DC7-19E8-4FBB-9425-B38ADA9A3F99}" type="pres">
      <dgm:prSet presAssocID="{C988B7E8-D776-441A-97B6-D2B9961A5FEC}" presName="spaceBetweenRectangles" presStyleCnt="0"/>
      <dgm:spPr/>
    </dgm:pt>
    <dgm:pt modelId="{1B960EF1-B84C-490F-9885-D58455E00344}" type="pres">
      <dgm:prSet presAssocID="{46CC23D6-3B57-40D3-91F7-464046584573}" presName="parentLin" presStyleCnt="0"/>
      <dgm:spPr/>
    </dgm:pt>
    <dgm:pt modelId="{9F6F084A-1A11-4B8C-A183-3869796AFF11}" type="pres">
      <dgm:prSet presAssocID="{46CC23D6-3B57-40D3-91F7-464046584573}" presName="parentLeftMargin" presStyleLbl="node1" presStyleIdx="0" presStyleCnt="5"/>
      <dgm:spPr/>
    </dgm:pt>
    <dgm:pt modelId="{A2DB0CD6-1136-42A9-B8F2-28FDFA315584}" type="pres">
      <dgm:prSet presAssocID="{46CC23D6-3B57-40D3-91F7-464046584573}" presName="parentText" presStyleLbl="node1" presStyleIdx="1" presStyleCnt="5">
        <dgm:presLayoutVars>
          <dgm:chMax val="0"/>
          <dgm:bulletEnabled val="1"/>
        </dgm:presLayoutVars>
      </dgm:prSet>
      <dgm:spPr/>
    </dgm:pt>
    <dgm:pt modelId="{562F5320-1DAE-4988-A6EC-D9ED04A76F66}" type="pres">
      <dgm:prSet presAssocID="{46CC23D6-3B57-40D3-91F7-464046584573}" presName="negativeSpace" presStyleCnt="0"/>
      <dgm:spPr/>
    </dgm:pt>
    <dgm:pt modelId="{1DE297D5-5B46-4150-A37B-4FE63CD9A2B5}" type="pres">
      <dgm:prSet presAssocID="{46CC23D6-3B57-40D3-91F7-464046584573}" presName="childText" presStyleLbl="conFgAcc1" presStyleIdx="1" presStyleCnt="5">
        <dgm:presLayoutVars>
          <dgm:bulletEnabled val="1"/>
        </dgm:presLayoutVars>
      </dgm:prSet>
      <dgm:spPr/>
    </dgm:pt>
    <dgm:pt modelId="{C3AA3D4D-22B6-4BCE-ABE2-CFD01730F289}" type="pres">
      <dgm:prSet presAssocID="{3A3D9006-08E5-43AA-B2F5-12AA47155D55}" presName="spaceBetweenRectangles" presStyleCnt="0"/>
      <dgm:spPr/>
    </dgm:pt>
    <dgm:pt modelId="{A1F30092-8E3B-4D34-B86C-2FBAE8A94B56}" type="pres">
      <dgm:prSet presAssocID="{70F7FDC2-6985-4BA9-B50B-02CE94C64DBB}" presName="parentLin" presStyleCnt="0"/>
      <dgm:spPr/>
    </dgm:pt>
    <dgm:pt modelId="{80378E4B-CFF6-4D64-9F5B-67D209CA0530}" type="pres">
      <dgm:prSet presAssocID="{70F7FDC2-6985-4BA9-B50B-02CE94C64DBB}" presName="parentLeftMargin" presStyleLbl="node1" presStyleIdx="1" presStyleCnt="5"/>
      <dgm:spPr/>
    </dgm:pt>
    <dgm:pt modelId="{2CF00BE3-14F3-499A-B185-3A3638584500}" type="pres">
      <dgm:prSet presAssocID="{70F7FDC2-6985-4BA9-B50B-02CE94C64DBB}" presName="parentText" presStyleLbl="node1" presStyleIdx="2" presStyleCnt="5">
        <dgm:presLayoutVars>
          <dgm:chMax val="0"/>
          <dgm:bulletEnabled val="1"/>
        </dgm:presLayoutVars>
      </dgm:prSet>
      <dgm:spPr/>
    </dgm:pt>
    <dgm:pt modelId="{2DCEA515-7FA7-4E8F-AADE-4140F20E859B}" type="pres">
      <dgm:prSet presAssocID="{70F7FDC2-6985-4BA9-B50B-02CE94C64DBB}" presName="negativeSpace" presStyleCnt="0"/>
      <dgm:spPr/>
    </dgm:pt>
    <dgm:pt modelId="{B8167F43-6A71-4833-80E8-4CDF82948D4A}" type="pres">
      <dgm:prSet presAssocID="{70F7FDC2-6985-4BA9-B50B-02CE94C64DBB}" presName="childText" presStyleLbl="conFgAcc1" presStyleIdx="2" presStyleCnt="5">
        <dgm:presLayoutVars>
          <dgm:bulletEnabled val="1"/>
        </dgm:presLayoutVars>
      </dgm:prSet>
      <dgm:spPr/>
    </dgm:pt>
    <dgm:pt modelId="{740EB911-8089-45F7-9174-F175AD17C5AB}" type="pres">
      <dgm:prSet presAssocID="{AD06918E-B929-466C-8387-48077870E2F5}" presName="spaceBetweenRectangles" presStyleCnt="0"/>
      <dgm:spPr/>
    </dgm:pt>
    <dgm:pt modelId="{9EC13B98-F286-4D48-9951-23DC1C06F943}" type="pres">
      <dgm:prSet presAssocID="{B7B9EF15-4AE8-48C1-B3E9-1E94281240FD}" presName="parentLin" presStyleCnt="0"/>
      <dgm:spPr/>
    </dgm:pt>
    <dgm:pt modelId="{01E3D856-61A3-4E3E-8529-4DE4EC154601}" type="pres">
      <dgm:prSet presAssocID="{B7B9EF15-4AE8-48C1-B3E9-1E94281240FD}" presName="parentLeftMargin" presStyleLbl="node1" presStyleIdx="2" presStyleCnt="5"/>
      <dgm:spPr/>
    </dgm:pt>
    <dgm:pt modelId="{7A105291-DD7D-44C5-9229-49997736D2A6}" type="pres">
      <dgm:prSet presAssocID="{B7B9EF15-4AE8-48C1-B3E9-1E94281240FD}" presName="parentText" presStyleLbl="node1" presStyleIdx="3" presStyleCnt="5">
        <dgm:presLayoutVars>
          <dgm:chMax val="0"/>
          <dgm:bulletEnabled val="1"/>
        </dgm:presLayoutVars>
      </dgm:prSet>
      <dgm:spPr/>
    </dgm:pt>
    <dgm:pt modelId="{E0C9079B-45A0-48FE-AE08-D368A64165EE}" type="pres">
      <dgm:prSet presAssocID="{B7B9EF15-4AE8-48C1-B3E9-1E94281240FD}" presName="negativeSpace" presStyleCnt="0"/>
      <dgm:spPr/>
    </dgm:pt>
    <dgm:pt modelId="{085E40D1-76D7-423C-9930-75FF755922A5}" type="pres">
      <dgm:prSet presAssocID="{B7B9EF15-4AE8-48C1-B3E9-1E94281240FD}" presName="childText" presStyleLbl="conFgAcc1" presStyleIdx="3" presStyleCnt="5">
        <dgm:presLayoutVars>
          <dgm:bulletEnabled val="1"/>
        </dgm:presLayoutVars>
      </dgm:prSet>
      <dgm:spPr/>
    </dgm:pt>
    <dgm:pt modelId="{9B7A76C2-7466-47F9-B078-B6DB927B767A}" type="pres">
      <dgm:prSet presAssocID="{E0567EF7-B0E5-4EDE-A1DD-C138116DD7A8}" presName="spaceBetweenRectangles" presStyleCnt="0"/>
      <dgm:spPr/>
    </dgm:pt>
    <dgm:pt modelId="{B3F32138-A237-4277-A704-D48FE05426D1}" type="pres">
      <dgm:prSet presAssocID="{5051808F-41E2-48C4-9060-600D155E8F80}" presName="parentLin" presStyleCnt="0"/>
      <dgm:spPr/>
    </dgm:pt>
    <dgm:pt modelId="{088A3145-4BD0-484B-93BB-4314DB957276}" type="pres">
      <dgm:prSet presAssocID="{5051808F-41E2-48C4-9060-600D155E8F80}" presName="parentLeftMargin" presStyleLbl="node1" presStyleIdx="3" presStyleCnt="5"/>
      <dgm:spPr/>
    </dgm:pt>
    <dgm:pt modelId="{CD8974C9-9423-4F7F-928A-1E110C7979F5}" type="pres">
      <dgm:prSet presAssocID="{5051808F-41E2-48C4-9060-600D155E8F80}" presName="parentText" presStyleLbl="node1" presStyleIdx="4" presStyleCnt="5">
        <dgm:presLayoutVars>
          <dgm:chMax val="0"/>
          <dgm:bulletEnabled val="1"/>
        </dgm:presLayoutVars>
      </dgm:prSet>
      <dgm:spPr/>
    </dgm:pt>
    <dgm:pt modelId="{63F8D1BF-0410-4C0E-AB58-BD95A6E8C454}" type="pres">
      <dgm:prSet presAssocID="{5051808F-41E2-48C4-9060-600D155E8F80}" presName="negativeSpace" presStyleCnt="0"/>
      <dgm:spPr/>
    </dgm:pt>
    <dgm:pt modelId="{FB40D34F-31A1-476C-B176-B380785011CC}" type="pres">
      <dgm:prSet presAssocID="{5051808F-41E2-48C4-9060-600D155E8F80}" presName="childText" presStyleLbl="conFgAcc1" presStyleIdx="4" presStyleCnt="5">
        <dgm:presLayoutVars>
          <dgm:bulletEnabled val="1"/>
        </dgm:presLayoutVars>
      </dgm:prSet>
      <dgm:spPr/>
    </dgm:pt>
  </dgm:ptLst>
  <dgm:cxnLst>
    <dgm:cxn modelId="{055BE805-A89E-4AB6-8F01-DB7E6B00477D}" type="presOf" srcId="{FE874FD9-0161-4522-88F1-B2415FA823CE}" destId="{6CA5246C-1974-424B-B053-A488AE7A9CC8}" srcOrd="0" destOrd="0" presId="urn:microsoft.com/office/officeart/2005/8/layout/list1"/>
    <dgm:cxn modelId="{EE860212-A160-4A4E-9349-34A2BAF69963}" srcId="{FE874FD9-0161-4522-88F1-B2415FA823CE}" destId="{B7B9EF15-4AE8-48C1-B3E9-1E94281240FD}" srcOrd="3" destOrd="0" parTransId="{18E8762A-F9D6-4973-906A-69F0AD57F576}" sibTransId="{E0567EF7-B0E5-4EDE-A1DD-C138116DD7A8}"/>
    <dgm:cxn modelId="{E7008621-0122-4DF8-B8FE-0CBB2169FEF7}" type="presOf" srcId="{70F7FDC2-6985-4BA9-B50B-02CE94C64DBB}" destId="{2CF00BE3-14F3-499A-B185-3A3638584500}" srcOrd="1" destOrd="0" presId="urn:microsoft.com/office/officeart/2005/8/layout/list1"/>
    <dgm:cxn modelId="{E543A560-8BA1-47C0-AE84-B92A0F244106}" type="presOf" srcId="{0BDB2C96-7328-4C38-80DD-11045274FA0D}" destId="{90C20E78-EE46-4056-84D4-DEBD79F06EF1}" srcOrd="0" destOrd="0" presId="urn:microsoft.com/office/officeart/2005/8/layout/list1"/>
    <dgm:cxn modelId="{138C4261-3C8D-43ED-B4C3-BD0A98037BE8}" srcId="{FE874FD9-0161-4522-88F1-B2415FA823CE}" destId="{5051808F-41E2-48C4-9060-600D155E8F80}" srcOrd="4" destOrd="0" parTransId="{5613030E-2026-4DFE-A06D-21BCE923D1EE}" sibTransId="{8145017D-86CE-4E0C-81FC-8530D9F0326A}"/>
    <dgm:cxn modelId="{494E4948-3C16-4E45-AF37-920E0FDC51AD}" srcId="{FE874FD9-0161-4522-88F1-B2415FA823CE}" destId="{70F7FDC2-6985-4BA9-B50B-02CE94C64DBB}" srcOrd="2" destOrd="0" parTransId="{F68B3F3A-E390-4751-B403-81ACF99FB300}" sibTransId="{AD06918E-B929-466C-8387-48077870E2F5}"/>
    <dgm:cxn modelId="{24FAB949-5B57-4C34-8529-8EBC90D73EEC}" type="presOf" srcId="{46CC23D6-3B57-40D3-91F7-464046584573}" destId="{9F6F084A-1A11-4B8C-A183-3869796AFF11}" srcOrd="0" destOrd="0" presId="urn:microsoft.com/office/officeart/2005/8/layout/list1"/>
    <dgm:cxn modelId="{4878FF6E-D7D6-4968-80DA-D9BB88312EA5}" type="presOf" srcId="{70F7FDC2-6985-4BA9-B50B-02CE94C64DBB}" destId="{80378E4B-CFF6-4D64-9F5B-67D209CA0530}" srcOrd="0" destOrd="0" presId="urn:microsoft.com/office/officeart/2005/8/layout/list1"/>
    <dgm:cxn modelId="{81640071-3FD6-4EB5-84E0-70CC8D78CCC5}" type="presOf" srcId="{46CC23D6-3B57-40D3-91F7-464046584573}" destId="{A2DB0CD6-1136-42A9-B8F2-28FDFA315584}" srcOrd="1" destOrd="0" presId="urn:microsoft.com/office/officeart/2005/8/layout/list1"/>
    <dgm:cxn modelId="{7F520E53-2BDD-4926-8BAA-65A148104949}" type="presOf" srcId="{B7B9EF15-4AE8-48C1-B3E9-1E94281240FD}" destId="{01E3D856-61A3-4E3E-8529-4DE4EC154601}" srcOrd="0" destOrd="0" presId="urn:microsoft.com/office/officeart/2005/8/layout/list1"/>
    <dgm:cxn modelId="{5C55B47E-D80E-418F-A32F-1C7E4505037A}" type="presOf" srcId="{B7B9EF15-4AE8-48C1-B3E9-1E94281240FD}" destId="{7A105291-DD7D-44C5-9229-49997736D2A6}" srcOrd="1" destOrd="0" presId="urn:microsoft.com/office/officeart/2005/8/layout/list1"/>
    <dgm:cxn modelId="{518B1E94-8926-4E1F-B031-C32E466DF544}" srcId="{FE874FD9-0161-4522-88F1-B2415FA823CE}" destId="{0BDB2C96-7328-4C38-80DD-11045274FA0D}" srcOrd="0" destOrd="0" parTransId="{164C667E-4F97-4E1F-A44F-86B7889C7B63}" sibTransId="{C988B7E8-D776-441A-97B6-D2B9961A5FEC}"/>
    <dgm:cxn modelId="{4AA278E4-294E-4B76-9830-CDC481EFB55D}" type="presOf" srcId="{5051808F-41E2-48C4-9060-600D155E8F80}" destId="{088A3145-4BD0-484B-93BB-4314DB957276}" srcOrd="0" destOrd="0" presId="urn:microsoft.com/office/officeart/2005/8/layout/list1"/>
    <dgm:cxn modelId="{08FFD7E4-9767-4178-951F-3E4EB455715F}" srcId="{FE874FD9-0161-4522-88F1-B2415FA823CE}" destId="{46CC23D6-3B57-40D3-91F7-464046584573}" srcOrd="1" destOrd="0" parTransId="{8A25D0B4-0EA2-4489-9E22-D46A821B513C}" sibTransId="{3A3D9006-08E5-43AA-B2F5-12AA47155D55}"/>
    <dgm:cxn modelId="{866B3EEC-E8F4-4786-8215-905094B3CF8C}" type="presOf" srcId="{5051808F-41E2-48C4-9060-600D155E8F80}" destId="{CD8974C9-9423-4F7F-928A-1E110C7979F5}" srcOrd="1" destOrd="0" presId="urn:microsoft.com/office/officeart/2005/8/layout/list1"/>
    <dgm:cxn modelId="{3DD868F3-8A2B-493B-8F87-18C2817FF3A4}" type="presOf" srcId="{0BDB2C96-7328-4C38-80DD-11045274FA0D}" destId="{EEEFF6E9-D472-4E6A-8E13-F7B16B278C72}" srcOrd="1" destOrd="0" presId="urn:microsoft.com/office/officeart/2005/8/layout/list1"/>
    <dgm:cxn modelId="{5CF3FBB2-29CB-456B-A61C-C06C57D04D7A}" type="presParOf" srcId="{6CA5246C-1974-424B-B053-A488AE7A9CC8}" destId="{17CF2504-43CA-4C1C-81D2-1A7F022FE502}" srcOrd="0" destOrd="0" presId="urn:microsoft.com/office/officeart/2005/8/layout/list1"/>
    <dgm:cxn modelId="{F34207AB-FA0E-4DFE-8E37-3D27088356FC}" type="presParOf" srcId="{17CF2504-43CA-4C1C-81D2-1A7F022FE502}" destId="{90C20E78-EE46-4056-84D4-DEBD79F06EF1}" srcOrd="0" destOrd="0" presId="urn:microsoft.com/office/officeart/2005/8/layout/list1"/>
    <dgm:cxn modelId="{B067C0D5-80F6-4BE8-84C7-B1FC5E73F6F1}" type="presParOf" srcId="{17CF2504-43CA-4C1C-81D2-1A7F022FE502}" destId="{EEEFF6E9-D472-4E6A-8E13-F7B16B278C72}" srcOrd="1" destOrd="0" presId="urn:microsoft.com/office/officeart/2005/8/layout/list1"/>
    <dgm:cxn modelId="{6ABDD038-567F-4995-A8DA-2037BE100ADB}" type="presParOf" srcId="{6CA5246C-1974-424B-B053-A488AE7A9CC8}" destId="{9F305785-D28C-475D-88A8-9E7ED308E8E8}" srcOrd="1" destOrd="0" presId="urn:microsoft.com/office/officeart/2005/8/layout/list1"/>
    <dgm:cxn modelId="{A1B853E4-1EBD-4D55-89E3-E752C669C371}" type="presParOf" srcId="{6CA5246C-1974-424B-B053-A488AE7A9CC8}" destId="{E5723921-3EC5-4EF1-913F-9784C9329F5D}" srcOrd="2" destOrd="0" presId="urn:microsoft.com/office/officeart/2005/8/layout/list1"/>
    <dgm:cxn modelId="{2866406A-9CB2-427C-A9D8-90CA3F910FAF}" type="presParOf" srcId="{6CA5246C-1974-424B-B053-A488AE7A9CC8}" destId="{21BA7DC7-19E8-4FBB-9425-B38ADA9A3F99}" srcOrd="3" destOrd="0" presId="urn:microsoft.com/office/officeart/2005/8/layout/list1"/>
    <dgm:cxn modelId="{0E6A1DA8-6BE9-4CA0-957C-71B41BF0972F}" type="presParOf" srcId="{6CA5246C-1974-424B-B053-A488AE7A9CC8}" destId="{1B960EF1-B84C-490F-9885-D58455E00344}" srcOrd="4" destOrd="0" presId="urn:microsoft.com/office/officeart/2005/8/layout/list1"/>
    <dgm:cxn modelId="{2579EC35-0102-49EB-8EB3-C620CE7CE105}" type="presParOf" srcId="{1B960EF1-B84C-490F-9885-D58455E00344}" destId="{9F6F084A-1A11-4B8C-A183-3869796AFF11}" srcOrd="0" destOrd="0" presId="urn:microsoft.com/office/officeart/2005/8/layout/list1"/>
    <dgm:cxn modelId="{27190D11-1CB9-4921-B6BB-5A629854A185}" type="presParOf" srcId="{1B960EF1-B84C-490F-9885-D58455E00344}" destId="{A2DB0CD6-1136-42A9-B8F2-28FDFA315584}" srcOrd="1" destOrd="0" presId="urn:microsoft.com/office/officeart/2005/8/layout/list1"/>
    <dgm:cxn modelId="{BD85719B-D4A4-4247-B679-EE0F0FE45594}" type="presParOf" srcId="{6CA5246C-1974-424B-B053-A488AE7A9CC8}" destId="{562F5320-1DAE-4988-A6EC-D9ED04A76F66}" srcOrd="5" destOrd="0" presId="urn:microsoft.com/office/officeart/2005/8/layout/list1"/>
    <dgm:cxn modelId="{1A8E8179-D3EA-4C1B-86D3-2C4EE8363DF3}" type="presParOf" srcId="{6CA5246C-1974-424B-B053-A488AE7A9CC8}" destId="{1DE297D5-5B46-4150-A37B-4FE63CD9A2B5}" srcOrd="6" destOrd="0" presId="urn:microsoft.com/office/officeart/2005/8/layout/list1"/>
    <dgm:cxn modelId="{8E33FCB7-F9D6-4774-8284-5C524945CA5C}" type="presParOf" srcId="{6CA5246C-1974-424B-B053-A488AE7A9CC8}" destId="{C3AA3D4D-22B6-4BCE-ABE2-CFD01730F289}" srcOrd="7" destOrd="0" presId="urn:microsoft.com/office/officeart/2005/8/layout/list1"/>
    <dgm:cxn modelId="{90F460A0-034B-40BC-863D-379FD1B49C69}" type="presParOf" srcId="{6CA5246C-1974-424B-B053-A488AE7A9CC8}" destId="{A1F30092-8E3B-4D34-B86C-2FBAE8A94B56}" srcOrd="8" destOrd="0" presId="urn:microsoft.com/office/officeart/2005/8/layout/list1"/>
    <dgm:cxn modelId="{D45F87ED-E0C2-4409-9C06-9ED099C2BCD0}" type="presParOf" srcId="{A1F30092-8E3B-4D34-B86C-2FBAE8A94B56}" destId="{80378E4B-CFF6-4D64-9F5B-67D209CA0530}" srcOrd="0" destOrd="0" presId="urn:microsoft.com/office/officeart/2005/8/layout/list1"/>
    <dgm:cxn modelId="{6C595295-F481-4DF0-9B50-C5FE772AB16D}" type="presParOf" srcId="{A1F30092-8E3B-4D34-B86C-2FBAE8A94B56}" destId="{2CF00BE3-14F3-499A-B185-3A3638584500}" srcOrd="1" destOrd="0" presId="urn:microsoft.com/office/officeart/2005/8/layout/list1"/>
    <dgm:cxn modelId="{18D1AF43-C320-4C53-9CAA-8D31863DB3F6}" type="presParOf" srcId="{6CA5246C-1974-424B-B053-A488AE7A9CC8}" destId="{2DCEA515-7FA7-4E8F-AADE-4140F20E859B}" srcOrd="9" destOrd="0" presId="urn:microsoft.com/office/officeart/2005/8/layout/list1"/>
    <dgm:cxn modelId="{DC6F2CEE-847D-41DC-AB0E-B3BAC62E012B}" type="presParOf" srcId="{6CA5246C-1974-424B-B053-A488AE7A9CC8}" destId="{B8167F43-6A71-4833-80E8-4CDF82948D4A}" srcOrd="10" destOrd="0" presId="urn:microsoft.com/office/officeart/2005/8/layout/list1"/>
    <dgm:cxn modelId="{90827A9F-D74B-4235-945A-7D793AF445BF}" type="presParOf" srcId="{6CA5246C-1974-424B-B053-A488AE7A9CC8}" destId="{740EB911-8089-45F7-9174-F175AD17C5AB}" srcOrd="11" destOrd="0" presId="urn:microsoft.com/office/officeart/2005/8/layout/list1"/>
    <dgm:cxn modelId="{9118F16D-9DA5-48E0-B0DD-2017E5DE9CCE}" type="presParOf" srcId="{6CA5246C-1974-424B-B053-A488AE7A9CC8}" destId="{9EC13B98-F286-4D48-9951-23DC1C06F943}" srcOrd="12" destOrd="0" presId="urn:microsoft.com/office/officeart/2005/8/layout/list1"/>
    <dgm:cxn modelId="{AB5EA99C-8559-49F5-B6CD-B3962F2FE1E2}" type="presParOf" srcId="{9EC13B98-F286-4D48-9951-23DC1C06F943}" destId="{01E3D856-61A3-4E3E-8529-4DE4EC154601}" srcOrd="0" destOrd="0" presId="urn:microsoft.com/office/officeart/2005/8/layout/list1"/>
    <dgm:cxn modelId="{23D7CEA3-68C5-467F-9586-2D8AD842391E}" type="presParOf" srcId="{9EC13B98-F286-4D48-9951-23DC1C06F943}" destId="{7A105291-DD7D-44C5-9229-49997736D2A6}" srcOrd="1" destOrd="0" presId="urn:microsoft.com/office/officeart/2005/8/layout/list1"/>
    <dgm:cxn modelId="{66C85D13-25BD-497E-B5BE-108EE37C0349}" type="presParOf" srcId="{6CA5246C-1974-424B-B053-A488AE7A9CC8}" destId="{E0C9079B-45A0-48FE-AE08-D368A64165EE}" srcOrd="13" destOrd="0" presId="urn:microsoft.com/office/officeart/2005/8/layout/list1"/>
    <dgm:cxn modelId="{99A6A6E8-4F64-43EB-A85D-13725B1359D1}" type="presParOf" srcId="{6CA5246C-1974-424B-B053-A488AE7A9CC8}" destId="{085E40D1-76D7-423C-9930-75FF755922A5}" srcOrd="14" destOrd="0" presId="urn:microsoft.com/office/officeart/2005/8/layout/list1"/>
    <dgm:cxn modelId="{CC46FD7C-C965-4716-BF5A-1E8ED8DED224}" type="presParOf" srcId="{6CA5246C-1974-424B-B053-A488AE7A9CC8}" destId="{9B7A76C2-7466-47F9-B078-B6DB927B767A}" srcOrd="15" destOrd="0" presId="urn:microsoft.com/office/officeart/2005/8/layout/list1"/>
    <dgm:cxn modelId="{95F67B3E-11F6-4797-B6DC-659F857167FC}" type="presParOf" srcId="{6CA5246C-1974-424B-B053-A488AE7A9CC8}" destId="{B3F32138-A237-4277-A704-D48FE05426D1}" srcOrd="16" destOrd="0" presId="urn:microsoft.com/office/officeart/2005/8/layout/list1"/>
    <dgm:cxn modelId="{FCB60DBA-8E18-4258-BCCC-285EE8FC4F3C}" type="presParOf" srcId="{B3F32138-A237-4277-A704-D48FE05426D1}" destId="{088A3145-4BD0-484B-93BB-4314DB957276}" srcOrd="0" destOrd="0" presId="urn:microsoft.com/office/officeart/2005/8/layout/list1"/>
    <dgm:cxn modelId="{95FEA200-92F3-4C49-A337-FE49E953E83C}" type="presParOf" srcId="{B3F32138-A237-4277-A704-D48FE05426D1}" destId="{CD8974C9-9423-4F7F-928A-1E110C7979F5}" srcOrd="1" destOrd="0" presId="urn:microsoft.com/office/officeart/2005/8/layout/list1"/>
    <dgm:cxn modelId="{BC982FDB-5802-4F3E-8D32-FB207A841E96}" type="presParOf" srcId="{6CA5246C-1974-424B-B053-A488AE7A9CC8}" destId="{63F8D1BF-0410-4C0E-AB58-BD95A6E8C454}" srcOrd="17" destOrd="0" presId="urn:microsoft.com/office/officeart/2005/8/layout/list1"/>
    <dgm:cxn modelId="{A1C885F7-2177-4444-84C6-30CF56694ECD}" type="presParOf" srcId="{6CA5246C-1974-424B-B053-A488AE7A9CC8}" destId="{FB40D34F-31A1-476C-B176-B380785011C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E874FD9-0161-4522-88F1-B2415FA823C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CL"/>
        </a:p>
      </dgm:t>
    </dgm:pt>
    <dgm:pt modelId="{0BDB2C96-7328-4C38-80DD-11045274FA0D}">
      <dgm:prSet phldrT="[Texto]"/>
      <dgm:spPr>
        <a:solidFill>
          <a:srgbClr val="C00000"/>
        </a:solidFill>
      </dgm:spPr>
      <dgm:t>
        <a:bodyPr/>
        <a:lstStyle/>
        <a:p>
          <a:r>
            <a:rPr lang="es-CL" dirty="0"/>
            <a:t>MEDICINA</a:t>
          </a:r>
        </a:p>
      </dgm:t>
    </dgm:pt>
    <dgm:pt modelId="{164C667E-4F97-4E1F-A44F-86B7889C7B63}" type="parTrans" cxnId="{518B1E94-8926-4E1F-B031-C32E466DF544}">
      <dgm:prSet/>
      <dgm:spPr/>
      <dgm:t>
        <a:bodyPr/>
        <a:lstStyle/>
        <a:p>
          <a:endParaRPr lang="es-CL"/>
        </a:p>
      </dgm:t>
    </dgm:pt>
    <dgm:pt modelId="{C988B7E8-D776-441A-97B6-D2B9961A5FEC}" type="sibTrans" cxnId="{518B1E94-8926-4E1F-B031-C32E466DF544}">
      <dgm:prSet/>
      <dgm:spPr/>
      <dgm:t>
        <a:bodyPr/>
        <a:lstStyle/>
        <a:p>
          <a:endParaRPr lang="es-CL"/>
        </a:p>
      </dgm:t>
    </dgm:pt>
    <dgm:pt modelId="{46CC23D6-3B57-40D3-91F7-464046584573}">
      <dgm:prSet phldrT="[Texto]" custT="1"/>
      <dgm:spPr>
        <a:solidFill>
          <a:srgbClr val="4472C4">
            <a:hueOff val="0"/>
            <a:satOff val="0"/>
            <a:lumOff val="0"/>
            <a:alphaOff val="0"/>
          </a:srgbClr>
        </a:solidFill>
        <a:ln w="25400" cap="flat" cmpd="sng" algn="ctr">
          <a:solidFill>
            <a:srgbClr val="FFFFFF">
              <a:hueOff val="0"/>
              <a:satOff val="0"/>
              <a:lumOff val="0"/>
              <a:alphaOff val="0"/>
            </a:srgbClr>
          </a:solidFill>
          <a:prstDash val="solid"/>
        </a:ln>
        <a:effectLst/>
      </dgm:spPr>
      <dgm:t>
        <a:bodyPr spcFirstLastPara="0" vert="horz" wrap="square" lIns="215053" tIns="0" rIns="215053" bIns="0" numCol="1" spcCol="1270" anchor="ctr" anchorCtr="0"/>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MEDICINA VETERINARIA</a:t>
          </a:r>
        </a:p>
      </dgm:t>
    </dgm:pt>
    <dgm:pt modelId="{8A25D0B4-0EA2-4489-9E22-D46A821B513C}" type="parTrans" cxnId="{08FFD7E4-9767-4178-951F-3E4EB455715F}">
      <dgm:prSet/>
      <dgm:spPr/>
      <dgm:t>
        <a:bodyPr/>
        <a:lstStyle/>
        <a:p>
          <a:endParaRPr lang="es-CL"/>
        </a:p>
      </dgm:t>
    </dgm:pt>
    <dgm:pt modelId="{3A3D9006-08E5-43AA-B2F5-12AA47155D55}" type="sibTrans" cxnId="{08FFD7E4-9767-4178-951F-3E4EB455715F}">
      <dgm:prSet/>
      <dgm:spPr/>
      <dgm:t>
        <a:bodyPr/>
        <a:lstStyle/>
        <a:p>
          <a:endParaRPr lang="es-CL"/>
        </a:p>
      </dgm:t>
    </dgm:pt>
    <dgm:pt modelId="{70F7FDC2-6985-4BA9-B50B-02CE94C64DBB}">
      <dgm:prSet phldrT="[Texto]"/>
      <dgm:spPr/>
      <dgm:t>
        <a:bodyPr/>
        <a:lstStyle/>
        <a:p>
          <a:r>
            <a:rPr lang="es-CL" dirty="0"/>
            <a:t>NUTRICIÓN</a:t>
          </a:r>
        </a:p>
      </dgm:t>
    </dgm:pt>
    <dgm:pt modelId="{F68B3F3A-E390-4751-B403-81ACF99FB300}" type="parTrans" cxnId="{494E4948-3C16-4E45-AF37-920E0FDC51AD}">
      <dgm:prSet/>
      <dgm:spPr/>
      <dgm:t>
        <a:bodyPr/>
        <a:lstStyle/>
        <a:p>
          <a:endParaRPr lang="es-CL"/>
        </a:p>
      </dgm:t>
    </dgm:pt>
    <dgm:pt modelId="{AD06918E-B929-466C-8387-48077870E2F5}" type="sibTrans" cxnId="{494E4948-3C16-4E45-AF37-920E0FDC51AD}">
      <dgm:prSet/>
      <dgm:spPr/>
      <dgm:t>
        <a:bodyPr/>
        <a:lstStyle/>
        <a:p>
          <a:endParaRPr lang="es-CL"/>
        </a:p>
      </dgm:t>
    </dgm:pt>
    <dgm:pt modelId="{B7B9EF15-4AE8-48C1-B3E9-1E94281240FD}">
      <dgm:prSet phldrT="[Texto]"/>
      <dgm:spPr>
        <a:solidFill>
          <a:srgbClr val="C00000"/>
        </a:solidFill>
      </dgm:spPr>
      <dgm:t>
        <a:bodyPr/>
        <a:lstStyle/>
        <a:p>
          <a:r>
            <a:rPr lang="es-CL" dirty="0"/>
            <a:t>ODONTOLOGÍA</a:t>
          </a:r>
        </a:p>
      </dgm:t>
    </dgm:pt>
    <dgm:pt modelId="{18E8762A-F9D6-4973-906A-69F0AD57F576}" type="parTrans" cxnId="{EE860212-A160-4A4E-9349-34A2BAF69963}">
      <dgm:prSet/>
      <dgm:spPr/>
      <dgm:t>
        <a:bodyPr/>
        <a:lstStyle/>
        <a:p>
          <a:endParaRPr lang="es-CL"/>
        </a:p>
      </dgm:t>
    </dgm:pt>
    <dgm:pt modelId="{E0567EF7-B0E5-4EDE-A1DD-C138116DD7A8}" type="sibTrans" cxnId="{EE860212-A160-4A4E-9349-34A2BAF69963}">
      <dgm:prSet/>
      <dgm:spPr/>
      <dgm:t>
        <a:bodyPr/>
        <a:lstStyle/>
        <a:p>
          <a:endParaRPr lang="es-CL"/>
        </a:p>
      </dgm:t>
    </dgm:pt>
    <dgm:pt modelId="{5051808F-41E2-48C4-9060-600D155E8F80}">
      <dgm:prSet phldrT="[Texto]"/>
      <dgm:spPr>
        <a:solidFill>
          <a:srgbClr val="C00000"/>
        </a:solidFill>
      </dgm:spPr>
      <dgm:t>
        <a:bodyPr/>
        <a:lstStyle/>
        <a:p>
          <a:r>
            <a:rPr lang="es-CL" dirty="0"/>
            <a:t>PSICOLOGÍA</a:t>
          </a:r>
        </a:p>
      </dgm:t>
    </dgm:pt>
    <dgm:pt modelId="{5613030E-2026-4DFE-A06D-21BCE923D1EE}" type="parTrans" cxnId="{138C4261-3C8D-43ED-B4C3-BD0A98037BE8}">
      <dgm:prSet/>
      <dgm:spPr/>
      <dgm:t>
        <a:bodyPr/>
        <a:lstStyle/>
        <a:p>
          <a:endParaRPr lang="es-CL"/>
        </a:p>
      </dgm:t>
    </dgm:pt>
    <dgm:pt modelId="{8145017D-86CE-4E0C-81FC-8530D9F0326A}" type="sibTrans" cxnId="{138C4261-3C8D-43ED-B4C3-BD0A98037BE8}">
      <dgm:prSet/>
      <dgm:spPr/>
      <dgm:t>
        <a:bodyPr/>
        <a:lstStyle/>
        <a:p>
          <a:endParaRPr lang="es-CL"/>
        </a:p>
      </dgm:t>
    </dgm:pt>
    <dgm:pt modelId="{6CA5246C-1974-424B-B053-A488AE7A9CC8}" type="pres">
      <dgm:prSet presAssocID="{FE874FD9-0161-4522-88F1-B2415FA823CE}" presName="linear" presStyleCnt="0">
        <dgm:presLayoutVars>
          <dgm:dir/>
          <dgm:animLvl val="lvl"/>
          <dgm:resizeHandles val="exact"/>
        </dgm:presLayoutVars>
      </dgm:prSet>
      <dgm:spPr/>
    </dgm:pt>
    <dgm:pt modelId="{17CF2504-43CA-4C1C-81D2-1A7F022FE502}" type="pres">
      <dgm:prSet presAssocID="{0BDB2C96-7328-4C38-80DD-11045274FA0D}" presName="parentLin" presStyleCnt="0"/>
      <dgm:spPr/>
    </dgm:pt>
    <dgm:pt modelId="{90C20E78-EE46-4056-84D4-DEBD79F06EF1}" type="pres">
      <dgm:prSet presAssocID="{0BDB2C96-7328-4C38-80DD-11045274FA0D}" presName="parentLeftMargin" presStyleLbl="node1" presStyleIdx="0" presStyleCnt="5"/>
      <dgm:spPr/>
    </dgm:pt>
    <dgm:pt modelId="{EEEFF6E9-D472-4E6A-8E13-F7B16B278C72}" type="pres">
      <dgm:prSet presAssocID="{0BDB2C96-7328-4C38-80DD-11045274FA0D}" presName="parentText" presStyleLbl="node1" presStyleIdx="0" presStyleCnt="5">
        <dgm:presLayoutVars>
          <dgm:chMax val="0"/>
          <dgm:bulletEnabled val="1"/>
        </dgm:presLayoutVars>
      </dgm:prSet>
      <dgm:spPr/>
    </dgm:pt>
    <dgm:pt modelId="{9F305785-D28C-475D-88A8-9E7ED308E8E8}" type="pres">
      <dgm:prSet presAssocID="{0BDB2C96-7328-4C38-80DD-11045274FA0D}" presName="negativeSpace" presStyleCnt="0"/>
      <dgm:spPr/>
    </dgm:pt>
    <dgm:pt modelId="{E5723921-3EC5-4EF1-913F-9784C9329F5D}" type="pres">
      <dgm:prSet presAssocID="{0BDB2C96-7328-4C38-80DD-11045274FA0D}" presName="childText" presStyleLbl="conFgAcc1" presStyleIdx="0" presStyleCnt="5">
        <dgm:presLayoutVars>
          <dgm:bulletEnabled val="1"/>
        </dgm:presLayoutVars>
      </dgm:prSet>
      <dgm:spPr/>
    </dgm:pt>
    <dgm:pt modelId="{21BA7DC7-19E8-4FBB-9425-B38ADA9A3F99}" type="pres">
      <dgm:prSet presAssocID="{C988B7E8-D776-441A-97B6-D2B9961A5FEC}" presName="spaceBetweenRectangles" presStyleCnt="0"/>
      <dgm:spPr/>
    </dgm:pt>
    <dgm:pt modelId="{1B960EF1-B84C-490F-9885-D58455E00344}" type="pres">
      <dgm:prSet presAssocID="{46CC23D6-3B57-40D3-91F7-464046584573}" presName="parentLin" presStyleCnt="0"/>
      <dgm:spPr/>
    </dgm:pt>
    <dgm:pt modelId="{9F6F084A-1A11-4B8C-A183-3869796AFF11}" type="pres">
      <dgm:prSet presAssocID="{46CC23D6-3B57-40D3-91F7-464046584573}" presName="parentLeftMargin" presStyleLbl="node1" presStyleIdx="0" presStyleCnt="5"/>
      <dgm:spPr/>
    </dgm:pt>
    <dgm:pt modelId="{A2DB0CD6-1136-42A9-B8F2-28FDFA315584}" type="pres">
      <dgm:prSet presAssocID="{46CC23D6-3B57-40D3-91F7-464046584573}" presName="parentText" presStyleLbl="node1" presStyleIdx="1" presStyleCnt="5">
        <dgm:presLayoutVars>
          <dgm:chMax val="0"/>
          <dgm:bulletEnabled val="1"/>
        </dgm:presLayoutVars>
      </dgm:prSet>
      <dgm:spPr>
        <a:xfrm>
          <a:off x="406400" y="936256"/>
          <a:ext cx="5689600" cy="560880"/>
        </a:xfrm>
        <a:prstGeom prst="roundRect">
          <a:avLst/>
        </a:prstGeom>
      </dgm:spPr>
    </dgm:pt>
    <dgm:pt modelId="{562F5320-1DAE-4988-A6EC-D9ED04A76F66}" type="pres">
      <dgm:prSet presAssocID="{46CC23D6-3B57-40D3-91F7-464046584573}" presName="negativeSpace" presStyleCnt="0"/>
      <dgm:spPr/>
    </dgm:pt>
    <dgm:pt modelId="{1DE297D5-5B46-4150-A37B-4FE63CD9A2B5}" type="pres">
      <dgm:prSet presAssocID="{46CC23D6-3B57-40D3-91F7-464046584573}" presName="childText" presStyleLbl="conFgAcc1" presStyleIdx="1" presStyleCnt="5">
        <dgm:presLayoutVars>
          <dgm:bulletEnabled val="1"/>
        </dgm:presLayoutVars>
      </dgm:prSet>
      <dgm:spPr/>
    </dgm:pt>
    <dgm:pt modelId="{C3AA3D4D-22B6-4BCE-ABE2-CFD01730F289}" type="pres">
      <dgm:prSet presAssocID="{3A3D9006-08E5-43AA-B2F5-12AA47155D55}" presName="spaceBetweenRectangles" presStyleCnt="0"/>
      <dgm:spPr/>
    </dgm:pt>
    <dgm:pt modelId="{A1F30092-8E3B-4D34-B86C-2FBAE8A94B56}" type="pres">
      <dgm:prSet presAssocID="{70F7FDC2-6985-4BA9-B50B-02CE94C64DBB}" presName="parentLin" presStyleCnt="0"/>
      <dgm:spPr/>
    </dgm:pt>
    <dgm:pt modelId="{80378E4B-CFF6-4D64-9F5B-67D209CA0530}" type="pres">
      <dgm:prSet presAssocID="{70F7FDC2-6985-4BA9-B50B-02CE94C64DBB}" presName="parentLeftMargin" presStyleLbl="node1" presStyleIdx="1" presStyleCnt="5"/>
      <dgm:spPr/>
    </dgm:pt>
    <dgm:pt modelId="{2CF00BE3-14F3-499A-B185-3A3638584500}" type="pres">
      <dgm:prSet presAssocID="{70F7FDC2-6985-4BA9-B50B-02CE94C64DBB}" presName="parentText" presStyleLbl="node1" presStyleIdx="2" presStyleCnt="5">
        <dgm:presLayoutVars>
          <dgm:chMax val="0"/>
          <dgm:bulletEnabled val="1"/>
        </dgm:presLayoutVars>
      </dgm:prSet>
      <dgm:spPr/>
    </dgm:pt>
    <dgm:pt modelId="{2DCEA515-7FA7-4E8F-AADE-4140F20E859B}" type="pres">
      <dgm:prSet presAssocID="{70F7FDC2-6985-4BA9-B50B-02CE94C64DBB}" presName="negativeSpace" presStyleCnt="0"/>
      <dgm:spPr/>
    </dgm:pt>
    <dgm:pt modelId="{B8167F43-6A71-4833-80E8-4CDF82948D4A}" type="pres">
      <dgm:prSet presAssocID="{70F7FDC2-6985-4BA9-B50B-02CE94C64DBB}" presName="childText" presStyleLbl="conFgAcc1" presStyleIdx="2" presStyleCnt="5">
        <dgm:presLayoutVars>
          <dgm:bulletEnabled val="1"/>
        </dgm:presLayoutVars>
      </dgm:prSet>
      <dgm:spPr/>
    </dgm:pt>
    <dgm:pt modelId="{740EB911-8089-45F7-9174-F175AD17C5AB}" type="pres">
      <dgm:prSet presAssocID="{AD06918E-B929-466C-8387-48077870E2F5}" presName="spaceBetweenRectangles" presStyleCnt="0"/>
      <dgm:spPr/>
    </dgm:pt>
    <dgm:pt modelId="{9EC13B98-F286-4D48-9951-23DC1C06F943}" type="pres">
      <dgm:prSet presAssocID="{B7B9EF15-4AE8-48C1-B3E9-1E94281240FD}" presName="parentLin" presStyleCnt="0"/>
      <dgm:spPr/>
    </dgm:pt>
    <dgm:pt modelId="{01E3D856-61A3-4E3E-8529-4DE4EC154601}" type="pres">
      <dgm:prSet presAssocID="{B7B9EF15-4AE8-48C1-B3E9-1E94281240FD}" presName="parentLeftMargin" presStyleLbl="node1" presStyleIdx="2" presStyleCnt="5"/>
      <dgm:spPr/>
    </dgm:pt>
    <dgm:pt modelId="{7A105291-DD7D-44C5-9229-49997736D2A6}" type="pres">
      <dgm:prSet presAssocID="{B7B9EF15-4AE8-48C1-B3E9-1E94281240FD}" presName="parentText" presStyleLbl="node1" presStyleIdx="3" presStyleCnt="5">
        <dgm:presLayoutVars>
          <dgm:chMax val="0"/>
          <dgm:bulletEnabled val="1"/>
        </dgm:presLayoutVars>
      </dgm:prSet>
      <dgm:spPr/>
    </dgm:pt>
    <dgm:pt modelId="{E0C9079B-45A0-48FE-AE08-D368A64165EE}" type="pres">
      <dgm:prSet presAssocID="{B7B9EF15-4AE8-48C1-B3E9-1E94281240FD}" presName="negativeSpace" presStyleCnt="0"/>
      <dgm:spPr/>
    </dgm:pt>
    <dgm:pt modelId="{085E40D1-76D7-423C-9930-75FF755922A5}" type="pres">
      <dgm:prSet presAssocID="{B7B9EF15-4AE8-48C1-B3E9-1E94281240FD}" presName="childText" presStyleLbl="conFgAcc1" presStyleIdx="3" presStyleCnt="5">
        <dgm:presLayoutVars>
          <dgm:bulletEnabled val="1"/>
        </dgm:presLayoutVars>
      </dgm:prSet>
      <dgm:spPr/>
    </dgm:pt>
    <dgm:pt modelId="{9B7A76C2-7466-47F9-B078-B6DB927B767A}" type="pres">
      <dgm:prSet presAssocID="{E0567EF7-B0E5-4EDE-A1DD-C138116DD7A8}" presName="spaceBetweenRectangles" presStyleCnt="0"/>
      <dgm:spPr/>
    </dgm:pt>
    <dgm:pt modelId="{B3F32138-A237-4277-A704-D48FE05426D1}" type="pres">
      <dgm:prSet presAssocID="{5051808F-41E2-48C4-9060-600D155E8F80}" presName="parentLin" presStyleCnt="0"/>
      <dgm:spPr/>
    </dgm:pt>
    <dgm:pt modelId="{088A3145-4BD0-484B-93BB-4314DB957276}" type="pres">
      <dgm:prSet presAssocID="{5051808F-41E2-48C4-9060-600D155E8F80}" presName="parentLeftMargin" presStyleLbl="node1" presStyleIdx="3" presStyleCnt="5"/>
      <dgm:spPr/>
    </dgm:pt>
    <dgm:pt modelId="{CD8974C9-9423-4F7F-928A-1E110C7979F5}" type="pres">
      <dgm:prSet presAssocID="{5051808F-41E2-48C4-9060-600D155E8F80}" presName="parentText" presStyleLbl="node1" presStyleIdx="4" presStyleCnt="5">
        <dgm:presLayoutVars>
          <dgm:chMax val="0"/>
          <dgm:bulletEnabled val="1"/>
        </dgm:presLayoutVars>
      </dgm:prSet>
      <dgm:spPr/>
    </dgm:pt>
    <dgm:pt modelId="{63F8D1BF-0410-4C0E-AB58-BD95A6E8C454}" type="pres">
      <dgm:prSet presAssocID="{5051808F-41E2-48C4-9060-600D155E8F80}" presName="negativeSpace" presStyleCnt="0"/>
      <dgm:spPr/>
    </dgm:pt>
    <dgm:pt modelId="{FB40D34F-31A1-476C-B176-B380785011CC}" type="pres">
      <dgm:prSet presAssocID="{5051808F-41E2-48C4-9060-600D155E8F80}" presName="childText" presStyleLbl="conFgAcc1" presStyleIdx="4" presStyleCnt="5">
        <dgm:presLayoutVars>
          <dgm:bulletEnabled val="1"/>
        </dgm:presLayoutVars>
      </dgm:prSet>
      <dgm:spPr/>
    </dgm:pt>
  </dgm:ptLst>
  <dgm:cxnLst>
    <dgm:cxn modelId="{055BE805-A89E-4AB6-8F01-DB7E6B00477D}" type="presOf" srcId="{FE874FD9-0161-4522-88F1-B2415FA823CE}" destId="{6CA5246C-1974-424B-B053-A488AE7A9CC8}" srcOrd="0" destOrd="0" presId="urn:microsoft.com/office/officeart/2005/8/layout/list1"/>
    <dgm:cxn modelId="{EE860212-A160-4A4E-9349-34A2BAF69963}" srcId="{FE874FD9-0161-4522-88F1-B2415FA823CE}" destId="{B7B9EF15-4AE8-48C1-B3E9-1E94281240FD}" srcOrd="3" destOrd="0" parTransId="{18E8762A-F9D6-4973-906A-69F0AD57F576}" sibTransId="{E0567EF7-B0E5-4EDE-A1DD-C138116DD7A8}"/>
    <dgm:cxn modelId="{E7008621-0122-4DF8-B8FE-0CBB2169FEF7}" type="presOf" srcId="{70F7FDC2-6985-4BA9-B50B-02CE94C64DBB}" destId="{2CF00BE3-14F3-499A-B185-3A3638584500}" srcOrd="1" destOrd="0" presId="urn:microsoft.com/office/officeart/2005/8/layout/list1"/>
    <dgm:cxn modelId="{E543A560-8BA1-47C0-AE84-B92A0F244106}" type="presOf" srcId="{0BDB2C96-7328-4C38-80DD-11045274FA0D}" destId="{90C20E78-EE46-4056-84D4-DEBD79F06EF1}" srcOrd="0" destOrd="0" presId="urn:microsoft.com/office/officeart/2005/8/layout/list1"/>
    <dgm:cxn modelId="{138C4261-3C8D-43ED-B4C3-BD0A98037BE8}" srcId="{FE874FD9-0161-4522-88F1-B2415FA823CE}" destId="{5051808F-41E2-48C4-9060-600D155E8F80}" srcOrd="4" destOrd="0" parTransId="{5613030E-2026-4DFE-A06D-21BCE923D1EE}" sibTransId="{8145017D-86CE-4E0C-81FC-8530D9F0326A}"/>
    <dgm:cxn modelId="{494E4948-3C16-4E45-AF37-920E0FDC51AD}" srcId="{FE874FD9-0161-4522-88F1-B2415FA823CE}" destId="{70F7FDC2-6985-4BA9-B50B-02CE94C64DBB}" srcOrd="2" destOrd="0" parTransId="{F68B3F3A-E390-4751-B403-81ACF99FB300}" sibTransId="{AD06918E-B929-466C-8387-48077870E2F5}"/>
    <dgm:cxn modelId="{24FAB949-5B57-4C34-8529-8EBC90D73EEC}" type="presOf" srcId="{46CC23D6-3B57-40D3-91F7-464046584573}" destId="{9F6F084A-1A11-4B8C-A183-3869796AFF11}" srcOrd="0" destOrd="0" presId="urn:microsoft.com/office/officeart/2005/8/layout/list1"/>
    <dgm:cxn modelId="{4878FF6E-D7D6-4968-80DA-D9BB88312EA5}" type="presOf" srcId="{70F7FDC2-6985-4BA9-B50B-02CE94C64DBB}" destId="{80378E4B-CFF6-4D64-9F5B-67D209CA0530}" srcOrd="0" destOrd="0" presId="urn:microsoft.com/office/officeart/2005/8/layout/list1"/>
    <dgm:cxn modelId="{81640071-3FD6-4EB5-84E0-70CC8D78CCC5}" type="presOf" srcId="{46CC23D6-3B57-40D3-91F7-464046584573}" destId="{A2DB0CD6-1136-42A9-B8F2-28FDFA315584}" srcOrd="1" destOrd="0" presId="urn:microsoft.com/office/officeart/2005/8/layout/list1"/>
    <dgm:cxn modelId="{7F520E53-2BDD-4926-8BAA-65A148104949}" type="presOf" srcId="{B7B9EF15-4AE8-48C1-B3E9-1E94281240FD}" destId="{01E3D856-61A3-4E3E-8529-4DE4EC154601}" srcOrd="0" destOrd="0" presId="urn:microsoft.com/office/officeart/2005/8/layout/list1"/>
    <dgm:cxn modelId="{5C55B47E-D80E-418F-A32F-1C7E4505037A}" type="presOf" srcId="{B7B9EF15-4AE8-48C1-B3E9-1E94281240FD}" destId="{7A105291-DD7D-44C5-9229-49997736D2A6}" srcOrd="1" destOrd="0" presId="urn:microsoft.com/office/officeart/2005/8/layout/list1"/>
    <dgm:cxn modelId="{518B1E94-8926-4E1F-B031-C32E466DF544}" srcId="{FE874FD9-0161-4522-88F1-B2415FA823CE}" destId="{0BDB2C96-7328-4C38-80DD-11045274FA0D}" srcOrd="0" destOrd="0" parTransId="{164C667E-4F97-4E1F-A44F-86B7889C7B63}" sibTransId="{C988B7E8-D776-441A-97B6-D2B9961A5FEC}"/>
    <dgm:cxn modelId="{4AA278E4-294E-4B76-9830-CDC481EFB55D}" type="presOf" srcId="{5051808F-41E2-48C4-9060-600D155E8F80}" destId="{088A3145-4BD0-484B-93BB-4314DB957276}" srcOrd="0" destOrd="0" presId="urn:microsoft.com/office/officeart/2005/8/layout/list1"/>
    <dgm:cxn modelId="{08FFD7E4-9767-4178-951F-3E4EB455715F}" srcId="{FE874FD9-0161-4522-88F1-B2415FA823CE}" destId="{46CC23D6-3B57-40D3-91F7-464046584573}" srcOrd="1" destOrd="0" parTransId="{8A25D0B4-0EA2-4489-9E22-D46A821B513C}" sibTransId="{3A3D9006-08E5-43AA-B2F5-12AA47155D55}"/>
    <dgm:cxn modelId="{866B3EEC-E8F4-4786-8215-905094B3CF8C}" type="presOf" srcId="{5051808F-41E2-48C4-9060-600D155E8F80}" destId="{CD8974C9-9423-4F7F-928A-1E110C7979F5}" srcOrd="1" destOrd="0" presId="urn:microsoft.com/office/officeart/2005/8/layout/list1"/>
    <dgm:cxn modelId="{3DD868F3-8A2B-493B-8F87-18C2817FF3A4}" type="presOf" srcId="{0BDB2C96-7328-4C38-80DD-11045274FA0D}" destId="{EEEFF6E9-D472-4E6A-8E13-F7B16B278C72}" srcOrd="1" destOrd="0" presId="urn:microsoft.com/office/officeart/2005/8/layout/list1"/>
    <dgm:cxn modelId="{5CF3FBB2-29CB-456B-A61C-C06C57D04D7A}" type="presParOf" srcId="{6CA5246C-1974-424B-B053-A488AE7A9CC8}" destId="{17CF2504-43CA-4C1C-81D2-1A7F022FE502}" srcOrd="0" destOrd="0" presId="urn:microsoft.com/office/officeart/2005/8/layout/list1"/>
    <dgm:cxn modelId="{F34207AB-FA0E-4DFE-8E37-3D27088356FC}" type="presParOf" srcId="{17CF2504-43CA-4C1C-81D2-1A7F022FE502}" destId="{90C20E78-EE46-4056-84D4-DEBD79F06EF1}" srcOrd="0" destOrd="0" presId="urn:microsoft.com/office/officeart/2005/8/layout/list1"/>
    <dgm:cxn modelId="{B067C0D5-80F6-4BE8-84C7-B1FC5E73F6F1}" type="presParOf" srcId="{17CF2504-43CA-4C1C-81D2-1A7F022FE502}" destId="{EEEFF6E9-D472-4E6A-8E13-F7B16B278C72}" srcOrd="1" destOrd="0" presId="urn:microsoft.com/office/officeart/2005/8/layout/list1"/>
    <dgm:cxn modelId="{6ABDD038-567F-4995-A8DA-2037BE100ADB}" type="presParOf" srcId="{6CA5246C-1974-424B-B053-A488AE7A9CC8}" destId="{9F305785-D28C-475D-88A8-9E7ED308E8E8}" srcOrd="1" destOrd="0" presId="urn:microsoft.com/office/officeart/2005/8/layout/list1"/>
    <dgm:cxn modelId="{A1B853E4-1EBD-4D55-89E3-E752C669C371}" type="presParOf" srcId="{6CA5246C-1974-424B-B053-A488AE7A9CC8}" destId="{E5723921-3EC5-4EF1-913F-9784C9329F5D}" srcOrd="2" destOrd="0" presId="urn:microsoft.com/office/officeart/2005/8/layout/list1"/>
    <dgm:cxn modelId="{2866406A-9CB2-427C-A9D8-90CA3F910FAF}" type="presParOf" srcId="{6CA5246C-1974-424B-B053-A488AE7A9CC8}" destId="{21BA7DC7-19E8-4FBB-9425-B38ADA9A3F99}" srcOrd="3" destOrd="0" presId="urn:microsoft.com/office/officeart/2005/8/layout/list1"/>
    <dgm:cxn modelId="{0E6A1DA8-6BE9-4CA0-957C-71B41BF0972F}" type="presParOf" srcId="{6CA5246C-1974-424B-B053-A488AE7A9CC8}" destId="{1B960EF1-B84C-490F-9885-D58455E00344}" srcOrd="4" destOrd="0" presId="urn:microsoft.com/office/officeart/2005/8/layout/list1"/>
    <dgm:cxn modelId="{2579EC35-0102-49EB-8EB3-C620CE7CE105}" type="presParOf" srcId="{1B960EF1-B84C-490F-9885-D58455E00344}" destId="{9F6F084A-1A11-4B8C-A183-3869796AFF11}" srcOrd="0" destOrd="0" presId="urn:microsoft.com/office/officeart/2005/8/layout/list1"/>
    <dgm:cxn modelId="{27190D11-1CB9-4921-B6BB-5A629854A185}" type="presParOf" srcId="{1B960EF1-B84C-490F-9885-D58455E00344}" destId="{A2DB0CD6-1136-42A9-B8F2-28FDFA315584}" srcOrd="1" destOrd="0" presId="urn:microsoft.com/office/officeart/2005/8/layout/list1"/>
    <dgm:cxn modelId="{BD85719B-D4A4-4247-B679-EE0F0FE45594}" type="presParOf" srcId="{6CA5246C-1974-424B-B053-A488AE7A9CC8}" destId="{562F5320-1DAE-4988-A6EC-D9ED04A76F66}" srcOrd="5" destOrd="0" presId="urn:microsoft.com/office/officeart/2005/8/layout/list1"/>
    <dgm:cxn modelId="{1A8E8179-D3EA-4C1B-86D3-2C4EE8363DF3}" type="presParOf" srcId="{6CA5246C-1974-424B-B053-A488AE7A9CC8}" destId="{1DE297D5-5B46-4150-A37B-4FE63CD9A2B5}" srcOrd="6" destOrd="0" presId="urn:microsoft.com/office/officeart/2005/8/layout/list1"/>
    <dgm:cxn modelId="{8E33FCB7-F9D6-4774-8284-5C524945CA5C}" type="presParOf" srcId="{6CA5246C-1974-424B-B053-A488AE7A9CC8}" destId="{C3AA3D4D-22B6-4BCE-ABE2-CFD01730F289}" srcOrd="7" destOrd="0" presId="urn:microsoft.com/office/officeart/2005/8/layout/list1"/>
    <dgm:cxn modelId="{90F460A0-034B-40BC-863D-379FD1B49C69}" type="presParOf" srcId="{6CA5246C-1974-424B-B053-A488AE7A9CC8}" destId="{A1F30092-8E3B-4D34-B86C-2FBAE8A94B56}" srcOrd="8" destOrd="0" presId="urn:microsoft.com/office/officeart/2005/8/layout/list1"/>
    <dgm:cxn modelId="{D45F87ED-E0C2-4409-9C06-9ED099C2BCD0}" type="presParOf" srcId="{A1F30092-8E3B-4D34-B86C-2FBAE8A94B56}" destId="{80378E4B-CFF6-4D64-9F5B-67D209CA0530}" srcOrd="0" destOrd="0" presId="urn:microsoft.com/office/officeart/2005/8/layout/list1"/>
    <dgm:cxn modelId="{6C595295-F481-4DF0-9B50-C5FE772AB16D}" type="presParOf" srcId="{A1F30092-8E3B-4D34-B86C-2FBAE8A94B56}" destId="{2CF00BE3-14F3-499A-B185-3A3638584500}" srcOrd="1" destOrd="0" presId="urn:microsoft.com/office/officeart/2005/8/layout/list1"/>
    <dgm:cxn modelId="{18D1AF43-C320-4C53-9CAA-8D31863DB3F6}" type="presParOf" srcId="{6CA5246C-1974-424B-B053-A488AE7A9CC8}" destId="{2DCEA515-7FA7-4E8F-AADE-4140F20E859B}" srcOrd="9" destOrd="0" presId="urn:microsoft.com/office/officeart/2005/8/layout/list1"/>
    <dgm:cxn modelId="{DC6F2CEE-847D-41DC-AB0E-B3BAC62E012B}" type="presParOf" srcId="{6CA5246C-1974-424B-B053-A488AE7A9CC8}" destId="{B8167F43-6A71-4833-80E8-4CDF82948D4A}" srcOrd="10" destOrd="0" presId="urn:microsoft.com/office/officeart/2005/8/layout/list1"/>
    <dgm:cxn modelId="{90827A9F-D74B-4235-945A-7D793AF445BF}" type="presParOf" srcId="{6CA5246C-1974-424B-B053-A488AE7A9CC8}" destId="{740EB911-8089-45F7-9174-F175AD17C5AB}" srcOrd="11" destOrd="0" presId="urn:microsoft.com/office/officeart/2005/8/layout/list1"/>
    <dgm:cxn modelId="{9118F16D-9DA5-48E0-B0DD-2017E5DE9CCE}" type="presParOf" srcId="{6CA5246C-1974-424B-B053-A488AE7A9CC8}" destId="{9EC13B98-F286-4D48-9951-23DC1C06F943}" srcOrd="12" destOrd="0" presId="urn:microsoft.com/office/officeart/2005/8/layout/list1"/>
    <dgm:cxn modelId="{AB5EA99C-8559-49F5-B6CD-B3962F2FE1E2}" type="presParOf" srcId="{9EC13B98-F286-4D48-9951-23DC1C06F943}" destId="{01E3D856-61A3-4E3E-8529-4DE4EC154601}" srcOrd="0" destOrd="0" presId="urn:microsoft.com/office/officeart/2005/8/layout/list1"/>
    <dgm:cxn modelId="{23D7CEA3-68C5-467F-9586-2D8AD842391E}" type="presParOf" srcId="{9EC13B98-F286-4D48-9951-23DC1C06F943}" destId="{7A105291-DD7D-44C5-9229-49997736D2A6}" srcOrd="1" destOrd="0" presId="urn:microsoft.com/office/officeart/2005/8/layout/list1"/>
    <dgm:cxn modelId="{66C85D13-25BD-497E-B5BE-108EE37C0349}" type="presParOf" srcId="{6CA5246C-1974-424B-B053-A488AE7A9CC8}" destId="{E0C9079B-45A0-48FE-AE08-D368A64165EE}" srcOrd="13" destOrd="0" presId="urn:microsoft.com/office/officeart/2005/8/layout/list1"/>
    <dgm:cxn modelId="{99A6A6E8-4F64-43EB-A85D-13725B1359D1}" type="presParOf" srcId="{6CA5246C-1974-424B-B053-A488AE7A9CC8}" destId="{085E40D1-76D7-423C-9930-75FF755922A5}" srcOrd="14" destOrd="0" presId="urn:microsoft.com/office/officeart/2005/8/layout/list1"/>
    <dgm:cxn modelId="{CC46FD7C-C965-4716-BF5A-1E8ED8DED224}" type="presParOf" srcId="{6CA5246C-1974-424B-B053-A488AE7A9CC8}" destId="{9B7A76C2-7466-47F9-B078-B6DB927B767A}" srcOrd="15" destOrd="0" presId="urn:microsoft.com/office/officeart/2005/8/layout/list1"/>
    <dgm:cxn modelId="{95F67B3E-11F6-4797-B6DC-659F857167FC}" type="presParOf" srcId="{6CA5246C-1974-424B-B053-A488AE7A9CC8}" destId="{B3F32138-A237-4277-A704-D48FE05426D1}" srcOrd="16" destOrd="0" presId="urn:microsoft.com/office/officeart/2005/8/layout/list1"/>
    <dgm:cxn modelId="{FCB60DBA-8E18-4258-BCCC-285EE8FC4F3C}" type="presParOf" srcId="{B3F32138-A237-4277-A704-D48FE05426D1}" destId="{088A3145-4BD0-484B-93BB-4314DB957276}" srcOrd="0" destOrd="0" presId="urn:microsoft.com/office/officeart/2005/8/layout/list1"/>
    <dgm:cxn modelId="{95FEA200-92F3-4C49-A337-FE49E953E83C}" type="presParOf" srcId="{B3F32138-A237-4277-A704-D48FE05426D1}" destId="{CD8974C9-9423-4F7F-928A-1E110C7979F5}" srcOrd="1" destOrd="0" presId="urn:microsoft.com/office/officeart/2005/8/layout/list1"/>
    <dgm:cxn modelId="{BC982FDB-5802-4F3E-8D32-FB207A841E96}" type="presParOf" srcId="{6CA5246C-1974-424B-B053-A488AE7A9CC8}" destId="{63F8D1BF-0410-4C0E-AB58-BD95A6E8C454}" srcOrd="17" destOrd="0" presId="urn:microsoft.com/office/officeart/2005/8/layout/list1"/>
    <dgm:cxn modelId="{A1C885F7-2177-4444-84C6-30CF56694ECD}" type="presParOf" srcId="{6CA5246C-1974-424B-B053-A488AE7A9CC8}" destId="{FB40D34F-31A1-476C-B176-B380785011CC}"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E874FD9-0161-4522-88F1-B2415FA823C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CL"/>
        </a:p>
      </dgm:t>
    </dgm:pt>
    <dgm:pt modelId="{0BDB2C96-7328-4C38-80DD-11045274FA0D}">
      <dgm:prSet phldrT="[Texto]" custT="1"/>
      <dgm:spPr/>
      <dgm:t>
        <a:bodyPr/>
        <a:lstStyle/>
        <a:p>
          <a:r>
            <a:rPr lang="es-CL" sz="2000" dirty="0"/>
            <a:t>QUÍMICA Y FARMACIA</a:t>
          </a:r>
        </a:p>
      </dgm:t>
    </dgm:pt>
    <dgm:pt modelId="{164C667E-4F97-4E1F-A44F-86B7889C7B63}" type="parTrans" cxnId="{518B1E94-8926-4E1F-B031-C32E466DF544}">
      <dgm:prSet/>
      <dgm:spPr/>
      <dgm:t>
        <a:bodyPr/>
        <a:lstStyle/>
        <a:p>
          <a:endParaRPr lang="es-CL" sz="1600"/>
        </a:p>
      </dgm:t>
    </dgm:pt>
    <dgm:pt modelId="{C988B7E8-D776-441A-97B6-D2B9961A5FEC}" type="sibTrans" cxnId="{518B1E94-8926-4E1F-B031-C32E466DF544}">
      <dgm:prSet/>
      <dgm:spPr/>
      <dgm:t>
        <a:bodyPr/>
        <a:lstStyle/>
        <a:p>
          <a:endParaRPr lang="es-CL" sz="1600"/>
        </a:p>
      </dgm:t>
    </dgm:pt>
    <dgm:pt modelId="{46CC23D6-3B57-40D3-91F7-464046584573}">
      <dgm:prSet phldrT="[Texto]" custT="1"/>
      <dgm:spPr>
        <a:solidFill>
          <a:srgbClr val="4472C4">
            <a:hueOff val="0"/>
            <a:satOff val="0"/>
            <a:lumOff val="0"/>
            <a:alphaOff val="0"/>
          </a:srgbClr>
        </a:solidFill>
        <a:ln w="25400" cap="flat" cmpd="sng" algn="ctr">
          <a:solidFill>
            <a:srgbClr val="FFFFFF">
              <a:hueOff val="0"/>
              <a:satOff val="0"/>
              <a:lumOff val="0"/>
              <a:alphaOff val="0"/>
            </a:srgbClr>
          </a:solidFill>
          <a:prstDash val="solid"/>
        </a:ln>
        <a:effectLst/>
      </dgm:spPr>
      <dgm:t>
        <a:bodyPr spcFirstLastPara="0" vert="horz" wrap="square" lIns="215053" tIns="0" rIns="215053" bIns="0" numCol="1" spcCol="1270" anchor="ctr" anchorCtr="0"/>
        <a:lstStyle/>
        <a:p>
          <a:pPr marL="0" lvl="0" indent="0" algn="l" defTabSz="844550">
            <a:lnSpc>
              <a:spcPct val="90000"/>
            </a:lnSpc>
            <a:spcBef>
              <a:spcPct val="0"/>
            </a:spcBef>
            <a:spcAft>
              <a:spcPct val="35000"/>
            </a:spcAft>
            <a:buNone/>
          </a:pPr>
          <a:r>
            <a:rPr lang="es-CL" sz="2000" kern="1200" dirty="0">
              <a:solidFill>
                <a:srgbClr val="FFFFFF"/>
              </a:solidFill>
              <a:latin typeface="Arial"/>
              <a:ea typeface="+mn-ea"/>
              <a:cs typeface="+mn-cs"/>
            </a:rPr>
            <a:t>TECNOLOGÍA MÉDICA OTRAS MENCIONES </a:t>
          </a:r>
        </a:p>
      </dgm:t>
    </dgm:pt>
    <dgm:pt modelId="{8A25D0B4-0EA2-4489-9E22-D46A821B513C}" type="parTrans" cxnId="{08FFD7E4-9767-4178-951F-3E4EB455715F}">
      <dgm:prSet/>
      <dgm:spPr/>
      <dgm:t>
        <a:bodyPr/>
        <a:lstStyle/>
        <a:p>
          <a:endParaRPr lang="es-CL" sz="1600"/>
        </a:p>
      </dgm:t>
    </dgm:pt>
    <dgm:pt modelId="{3A3D9006-08E5-43AA-B2F5-12AA47155D55}" type="sibTrans" cxnId="{08FFD7E4-9767-4178-951F-3E4EB455715F}">
      <dgm:prSet/>
      <dgm:spPr/>
      <dgm:t>
        <a:bodyPr/>
        <a:lstStyle/>
        <a:p>
          <a:endParaRPr lang="es-CL" sz="1600"/>
        </a:p>
      </dgm:t>
    </dgm:pt>
    <dgm:pt modelId="{70F7FDC2-6985-4BA9-B50B-02CE94C64DBB}">
      <dgm:prSet phldrT="[Texto]" custT="1"/>
      <dgm:spPr>
        <a:solidFill>
          <a:srgbClr val="C00000"/>
        </a:solidFill>
      </dgm:spPr>
      <dgm:t>
        <a:bodyPr/>
        <a:lstStyle/>
        <a:p>
          <a:r>
            <a:rPr lang="es-CL" sz="1800" dirty="0">
              <a:solidFill>
                <a:srgbClr val="FFFFFF"/>
              </a:solidFill>
              <a:latin typeface="Arial"/>
              <a:ea typeface="+mn-ea"/>
              <a:cs typeface="+mn-cs"/>
            </a:rPr>
            <a:t>TECNOLOGÍA MÉDICA MENCIÓN OFTALMOLOGÍA</a:t>
          </a:r>
          <a:endParaRPr lang="es-CL" sz="1800" dirty="0"/>
        </a:p>
      </dgm:t>
    </dgm:pt>
    <dgm:pt modelId="{F68B3F3A-E390-4751-B403-81ACF99FB300}" type="parTrans" cxnId="{494E4948-3C16-4E45-AF37-920E0FDC51AD}">
      <dgm:prSet/>
      <dgm:spPr/>
      <dgm:t>
        <a:bodyPr/>
        <a:lstStyle/>
        <a:p>
          <a:endParaRPr lang="es-CL" sz="1600"/>
        </a:p>
      </dgm:t>
    </dgm:pt>
    <dgm:pt modelId="{AD06918E-B929-466C-8387-48077870E2F5}" type="sibTrans" cxnId="{494E4948-3C16-4E45-AF37-920E0FDC51AD}">
      <dgm:prSet/>
      <dgm:spPr/>
      <dgm:t>
        <a:bodyPr/>
        <a:lstStyle/>
        <a:p>
          <a:endParaRPr lang="es-CL" sz="1600"/>
        </a:p>
      </dgm:t>
    </dgm:pt>
    <dgm:pt modelId="{B7B9EF15-4AE8-48C1-B3E9-1E94281240FD}">
      <dgm:prSet phldrT="[Texto]" custT="1"/>
      <dgm:spPr/>
      <dgm:t>
        <a:bodyPr/>
        <a:lstStyle/>
        <a:p>
          <a:r>
            <a:rPr lang="es-CL" sz="2000" dirty="0"/>
            <a:t>TERAPIA OCUPACIONAL</a:t>
          </a:r>
        </a:p>
      </dgm:t>
    </dgm:pt>
    <dgm:pt modelId="{18E8762A-F9D6-4973-906A-69F0AD57F576}" type="parTrans" cxnId="{EE860212-A160-4A4E-9349-34A2BAF69963}">
      <dgm:prSet/>
      <dgm:spPr/>
      <dgm:t>
        <a:bodyPr/>
        <a:lstStyle/>
        <a:p>
          <a:endParaRPr lang="es-CL" sz="1600"/>
        </a:p>
      </dgm:t>
    </dgm:pt>
    <dgm:pt modelId="{E0567EF7-B0E5-4EDE-A1DD-C138116DD7A8}" type="sibTrans" cxnId="{EE860212-A160-4A4E-9349-34A2BAF69963}">
      <dgm:prSet/>
      <dgm:spPr/>
      <dgm:t>
        <a:bodyPr/>
        <a:lstStyle/>
        <a:p>
          <a:endParaRPr lang="es-CL" sz="1600"/>
        </a:p>
      </dgm:t>
    </dgm:pt>
    <dgm:pt modelId="{6CA5246C-1974-424B-B053-A488AE7A9CC8}" type="pres">
      <dgm:prSet presAssocID="{FE874FD9-0161-4522-88F1-B2415FA823CE}" presName="linear" presStyleCnt="0">
        <dgm:presLayoutVars>
          <dgm:dir/>
          <dgm:animLvl val="lvl"/>
          <dgm:resizeHandles val="exact"/>
        </dgm:presLayoutVars>
      </dgm:prSet>
      <dgm:spPr/>
    </dgm:pt>
    <dgm:pt modelId="{17CF2504-43CA-4C1C-81D2-1A7F022FE502}" type="pres">
      <dgm:prSet presAssocID="{0BDB2C96-7328-4C38-80DD-11045274FA0D}" presName="parentLin" presStyleCnt="0"/>
      <dgm:spPr/>
    </dgm:pt>
    <dgm:pt modelId="{90C20E78-EE46-4056-84D4-DEBD79F06EF1}" type="pres">
      <dgm:prSet presAssocID="{0BDB2C96-7328-4C38-80DD-11045274FA0D}" presName="parentLeftMargin" presStyleLbl="node1" presStyleIdx="0" presStyleCnt="3"/>
      <dgm:spPr/>
    </dgm:pt>
    <dgm:pt modelId="{EEEFF6E9-D472-4E6A-8E13-F7B16B278C72}" type="pres">
      <dgm:prSet presAssocID="{0BDB2C96-7328-4C38-80DD-11045274FA0D}" presName="parentText" presStyleLbl="node1" presStyleIdx="0" presStyleCnt="3">
        <dgm:presLayoutVars>
          <dgm:chMax val="0"/>
          <dgm:bulletEnabled val="1"/>
        </dgm:presLayoutVars>
      </dgm:prSet>
      <dgm:spPr/>
    </dgm:pt>
    <dgm:pt modelId="{9F305785-D28C-475D-88A8-9E7ED308E8E8}" type="pres">
      <dgm:prSet presAssocID="{0BDB2C96-7328-4C38-80DD-11045274FA0D}" presName="negativeSpace" presStyleCnt="0"/>
      <dgm:spPr/>
    </dgm:pt>
    <dgm:pt modelId="{E5723921-3EC5-4EF1-913F-9784C9329F5D}" type="pres">
      <dgm:prSet presAssocID="{0BDB2C96-7328-4C38-80DD-11045274FA0D}" presName="childText" presStyleLbl="conFgAcc1" presStyleIdx="0" presStyleCnt="3">
        <dgm:presLayoutVars>
          <dgm:bulletEnabled val="1"/>
        </dgm:presLayoutVars>
      </dgm:prSet>
      <dgm:spPr/>
    </dgm:pt>
    <dgm:pt modelId="{21BA7DC7-19E8-4FBB-9425-B38ADA9A3F99}" type="pres">
      <dgm:prSet presAssocID="{C988B7E8-D776-441A-97B6-D2B9961A5FEC}" presName="spaceBetweenRectangles" presStyleCnt="0"/>
      <dgm:spPr/>
    </dgm:pt>
    <dgm:pt modelId="{1B960EF1-B84C-490F-9885-D58455E00344}" type="pres">
      <dgm:prSet presAssocID="{46CC23D6-3B57-40D3-91F7-464046584573}" presName="parentLin" presStyleCnt="0"/>
      <dgm:spPr/>
    </dgm:pt>
    <dgm:pt modelId="{9F6F084A-1A11-4B8C-A183-3869796AFF11}" type="pres">
      <dgm:prSet presAssocID="{46CC23D6-3B57-40D3-91F7-464046584573}" presName="parentLeftMargin" presStyleLbl="node1" presStyleIdx="0" presStyleCnt="3"/>
      <dgm:spPr/>
    </dgm:pt>
    <dgm:pt modelId="{A2DB0CD6-1136-42A9-B8F2-28FDFA315584}" type="pres">
      <dgm:prSet presAssocID="{46CC23D6-3B57-40D3-91F7-464046584573}" presName="parentText" presStyleLbl="node1" presStyleIdx="1" presStyleCnt="3" custScaleX="120690">
        <dgm:presLayoutVars>
          <dgm:chMax val="0"/>
          <dgm:bulletEnabled val="1"/>
        </dgm:presLayoutVars>
      </dgm:prSet>
      <dgm:spPr>
        <a:xfrm>
          <a:off x="406400" y="936256"/>
          <a:ext cx="5689600" cy="560880"/>
        </a:xfrm>
        <a:prstGeom prst="roundRect">
          <a:avLst/>
        </a:prstGeom>
      </dgm:spPr>
    </dgm:pt>
    <dgm:pt modelId="{562F5320-1DAE-4988-A6EC-D9ED04A76F66}" type="pres">
      <dgm:prSet presAssocID="{46CC23D6-3B57-40D3-91F7-464046584573}" presName="negativeSpace" presStyleCnt="0"/>
      <dgm:spPr/>
    </dgm:pt>
    <dgm:pt modelId="{1DE297D5-5B46-4150-A37B-4FE63CD9A2B5}" type="pres">
      <dgm:prSet presAssocID="{46CC23D6-3B57-40D3-91F7-464046584573}" presName="childText" presStyleLbl="conFgAcc1" presStyleIdx="1" presStyleCnt="3">
        <dgm:presLayoutVars>
          <dgm:bulletEnabled val="1"/>
        </dgm:presLayoutVars>
      </dgm:prSet>
      <dgm:spPr/>
    </dgm:pt>
    <dgm:pt modelId="{C3AA3D4D-22B6-4BCE-ABE2-CFD01730F289}" type="pres">
      <dgm:prSet presAssocID="{3A3D9006-08E5-43AA-B2F5-12AA47155D55}" presName="spaceBetweenRectangles" presStyleCnt="0"/>
      <dgm:spPr/>
    </dgm:pt>
    <dgm:pt modelId="{9EC13B98-F286-4D48-9951-23DC1C06F943}" type="pres">
      <dgm:prSet presAssocID="{B7B9EF15-4AE8-48C1-B3E9-1E94281240FD}" presName="parentLin" presStyleCnt="0"/>
      <dgm:spPr/>
    </dgm:pt>
    <dgm:pt modelId="{01E3D856-61A3-4E3E-8529-4DE4EC154601}" type="pres">
      <dgm:prSet presAssocID="{B7B9EF15-4AE8-48C1-B3E9-1E94281240FD}" presName="parentLeftMargin" presStyleLbl="node1" presStyleIdx="1" presStyleCnt="3"/>
      <dgm:spPr/>
    </dgm:pt>
    <dgm:pt modelId="{7A105291-DD7D-44C5-9229-49997736D2A6}" type="pres">
      <dgm:prSet presAssocID="{B7B9EF15-4AE8-48C1-B3E9-1E94281240FD}" presName="parentText" presStyleLbl="node1" presStyleIdx="2" presStyleCnt="3">
        <dgm:presLayoutVars>
          <dgm:chMax val="0"/>
          <dgm:bulletEnabled val="1"/>
        </dgm:presLayoutVars>
      </dgm:prSet>
      <dgm:spPr/>
    </dgm:pt>
    <dgm:pt modelId="{E0C9079B-45A0-48FE-AE08-D368A64165EE}" type="pres">
      <dgm:prSet presAssocID="{B7B9EF15-4AE8-48C1-B3E9-1E94281240FD}" presName="negativeSpace" presStyleCnt="0"/>
      <dgm:spPr/>
    </dgm:pt>
    <dgm:pt modelId="{085E40D1-76D7-423C-9930-75FF755922A5}" type="pres">
      <dgm:prSet presAssocID="{B7B9EF15-4AE8-48C1-B3E9-1E94281240FD}" presName="childText" presStyleLbl="conFgAcc1" presStyleIdx="2" presStyleCnt="3">
        <dgm:presLayoutVars>
          <dgm:bulletEnabled val="1"/>
        </dgm:presLayoutVars>
      </dgm:prSet>
      <dgm:spPr/>
    </dgm:pt>
  </dgm:ptLst>
  <dgm:cxnLst>
    <dgm:cxn modelId="{055BE805-A89E-4AB6-8F01-DB7E6B00477D}" type="presOf" srcId="{FE874FD9-0161-4522-88F1-B2415FA823CE}" destId="{6CA5246C-1974-424B-B053-A488AE7A9CC8}" srcOrd="0" destOrd="0" presId="urn:microsoft.com/office/officeart/2005/8/layout/list1"/>
    <dgm:cxn modelId="{EE860212-A160-4A4E-9349-34A2BAF69963}" srcId="{FE874FD9-0161-4522-88F1-B2415FA823CE}" destId="{B7B9EF15-4AE8-48C1-B3E9-1E94281240FD}" srcOrd="2" destOrd="0" parTransId="{18E8762A-F9D6-4973-906A-69F0AD57F576}" sibTransId="{E0567EF7-B0E5-4EDE-A1DD-C138116DD7A8}"/>
    <dgm:cxn modelId="{2E1F933A-76C9-4FFE-84A0-9D2B14085651}" type="presOf" srcId="{70F7FDC2-6985-4BA9-B50B-02CE94C64DBB}" destId="{1DE297D5-5B46-4150-A37B-4FE63CD9A2B5}" srcOrd="0" destOrd="0" presId="urn:microsoft.com/office/officeart/2005/8/layout/list1"/>
    <dgm:cxn modelId="{E543A560-8BA1-47C0-AE84-B92A0F244106}" type="presOf" srcId="{0BDB2C96-7328-4C38-80DD-11045274FA0D}" destId="{90C20E78-EE46-4056-84D4-DEBD79F06EF1}" srcOrd="0" destOrd="0" presId="urn:microsoft.com/office/officeart/2005/8/layout/list1"/>
    <dgm:cxn modelId="{494E4948-3C16-4E45-AF37-920E0FDC51AD}" srcId="{46CC23D6-3B57-40D3-91F7-464046584573}" destId="{70F7FDC2-6985-4BA9-B50B-02CE94C64DBB}" srcOrd="0" destOrd="0" parTransId="{F68B3F3A-E390-4751-B403-81ACF99FB300}" sibTransId="{AD06918E-B929-466C-8387-48077870E2F5}"/>
    <dgm:cxn modelId="{24FAB949-5B57-4C34-8529-8EBC90D73EEC}" type="presOf" srcId="{46CC23D6-3B57-40D3-91F7-464046584573}" destId="{9F6F084A-1A11-4B8C-A183-3869796AFF11}" srcOrd="0" destOrd="0" presId="urn:microsoft.com/office/officeart/2005/8/layout/list1"/>
    <dgm:cxn modelId="{81640071-3FD6-4EB5-84E0-70CC8D78CCC5}" type="presOf" srcId="{46CC23D6-3B57-40D3-91F7-464046584573}" destId="{A2DB0CD6-1136-42A9-B8F2-28FDFA315584}" srcOrd="1" destOrd="0" presId="urn:microsoft.com/office/officeart/2005/8/layout/list1"/>
    <dgm:cxn modelId="{7F520E53-2BDD-4926-8BAA-65A148104949}" type="presOf" srcId="{B7B9EF15-4AE8-48C1-B3E9-1E94281240FD}" destId="{01E3D856-61A3-4E3E-8529-4DE4EC154601}" srcOrd="0" destOrd="0" presId="urn:microsoft.com/office/officeart/2005/8/layout/list1"/>
    <dgm:cxn modelId="{5C55B47E-D80E-418F-A32F-1C7E4505037A}" type="presOf" srcId="{B7B9EF15-4AE8-48C1-B3E9-1E94281240FD}" destId="{7A105291-DD7D-44C5-9229-49997736D2A6}" srcOrd="1" destOrd="0" presId="urn:microsoft.com/office/officeart/2005/8/layout/list1"/>
    <dgm:cxn modelId="{518B1E94-8926-4E1F-B031-C32E466DF544}" srcId="{FE874FD9-0161-4522-88F1-B2415FA823CE}" destId="{0BDB2C96-7328-4C38-80DD-11045274FA0D}" srcOrd="0" destOrd="0" parTransId="{164C667E-4F97-4E1F-A44F-86B7889C7B63}" sibTransId="{C988B7E8-D776-441A-97B6-D2B9961A5FEC}"/>
    <dgm:cxn modelId="{08FFD7E4-9767-4178-951F-3E4EB455715F}" srcId="{FE874FD9-0161-4522-88F1-B2415FA823CE}" destId="{46CC23D6-3B57-40D3-91F7-464046584573}" srcOrd="1" destOrd="0" parTransId="{8A25D0B4-0EA2-4489-9E22-D46A821B513C}" sibTransId="{3A3D9006-08E5-43AA-B2F5-12AA47155D55}"/>
    <dgm:cxn modelId="{3DD868F3-8A2B-493B-8F87-18C2817FF3A4}" type="presOf" srcId="{0BDB2C96-7328-4C38-80DD-11045274FA0D}" destId="{EEEFF6E9-D472-4E6A-8E13-F7B16B278C72}" srcOrd="1" destOrd="0" presId="urn:microsoft.com/office/officeart/2005/8/layout/list1"/>
    <dgm:cxn modelId="{5CF3FBB2-29CB-456B-A61C-C06C57D04D7A}" type="presParOf" srcId="{6CA5246C-1974-424B-B053-A488AE7A9CC8}" destId="{17CF2504-43CA-4C1C-81D2-1A7F022FE502}" srcOrd="0" destOrd="0" presId="urn:microsoft.com/office/officeart/2005/8/layout/list1"/>
    <dgm:cxn modelId="{F34207AB-FA0E-4DFE-8E37-3D27088356FC}" type="presParOf" srcId="{17CF2504-43CA-4C1C-81D2-1A7F022FE502}" destId="{90C20E78-EE46-4056-84D4-DEBD79F06EF1}" srcOrd="0" destOrd="0" presId="urn:microsoft.com/office/officeart/2005/8/layout/list1"/>
    <dgm:cxn modelId="{B067C0D5-80F6-4BE8-84C7-B1FC5E73F6F1}" type="presParOf" srcId="{17CF2504-43CA-4C1C-81D2-1A7F022FE502}" destId="{EEEFF6E9-D472-4E6A-8E13-F7B16B278C72}" srcOrd="1" destOrd="0" presId="urn:microsoft.com/office/officeart/2005/8/layout/list1"/>
    <dgm:cxn modelId="{6ABDD038-567F-4995-A8DA-2037BE100ADB}" type="presParOf" srcId="{6CA5246C-1974-424B-B053-A488AE7A9CC8}" destId="{9F305785-D28C-475D-88A8-9E7ED308E8E8}" srcOrd="1" destOrd="0" presId="urn:microsoft.com/office/officeart/2005/8/layout/list1"/>
    <dgm:cxn modelId="{A1B853E4-1EBD-4D55-89E3-E752C669C371}" type="presParOf" srcId="{6CA5246C-1974-424B-B053-A488AE7A9CC8}" destId="{E5723921-3EC5-4EF1-913F-9784C9329F5D}" srcOrd="2" destOrd="0" presId="urn:microsoft.com/office/officeart/2005/8/layout/list1"/>
    <dgm:cxn modelId="{2866406A-9CB2-427C-A9D8-90CA3F910FAF}" type="presParOf" srcId="{6CA5246C-1974-424B-B053-A488AE7A9CC8}" destId="{21BA7DC7-19E8-4FBB-9425-B38ADA9A3F99}" srcOrd="3" destOrd="0" presId="urn:microsoft.com/office/officeart/2005/8/layout/list1"/>
    <dgm:cxn modelId="{0E6A1DA8-6BE9-4CA0-957C-71B41BF0972F}" type="presParOf" srcId="{6CA5246C-1974-424B-B053-A488AE7A9CC8}" destId="{1B960EF1-B84C-490F-9885-D58455E00344}" srcOrd="4" destOrd="0" presId="urn:microsoft.com/office/officeart/2005/8/layout/list1"/>
    <dgm:cxn modelId="{2579EC35-0102-49EB-8EB3-C620CE7CE105}" type="presParOf" srcId="{1B960EF1-B84C-490F-9885-D58455E00344}" destId="{9F6F084A-1A11-4B8C-A183-3869796AFF11}" srcOrd="0" destOrd="0" presId="urn:microsoft.com/office/officeart/2005/8/layout/list1"/>
    <dgm:cxn modelId="{27190D11-1CB9-4921-B6BB-5A629854A185}" type="presParOf" srcId="{1B960EF1-B84C-490F-9885-D58455E00344}" destId="{A2DB0CD6-1136-42A9-B8F2-28FDFA315584}" srcOrd="1" destOrd="0" presId="urn:microsoft.com/office/officeart/2005/8/layout/list1"/>
    <dgm:cxn modelId="{BD85719B-D4A4-4247-B679-EE0F0FE45594}" type="presParOf" srcId="{6CA5246C-1974-424B-B053-A488AE7A9CC8}" destId="{562F5320-1DAE-4988-A6EC-D9ED04A76F66}" srcOrd="5" destOrd="0" presId="urn:microsoft.com/office/officeart/2005/8/layout/list1"/>
    <dgm:cxn modelId="{1A8E8179-D3EA-4C1B-86D3-2C4EE8363DF3}" type="presParOf" srcId="{6CA5246C-1974-424B-B053-A488AE7A9CC8}" destId="{1DE297D5-5B46-4150-A37B-4FE63CD9A2B5}" srcOrd="6" destOrd="0" presId="urn:microsoft.com/office/officeart/2005/8/layout/list1"/>
    <dgm:cxn modelId="{8E33FCB7-F9D6-4774-8284-5C524945CA5C}" type="presParOf" srcId="{6CA5246C-1974-424B-B053-A488AE7A9CC8}" destId="{C3AA3D4D-22B6-4BCE-ABE2-CFD01730F289}" srcOrd="7" destOrd="0" presId="urn:microsoft.com/office/officeart/2005/8/layout/list1"/>
    <dgm:cxn modelId="{9118F16D-9DA5-48E0-B0DD-2017E5DE9CCE}" type="presParOf" srcId="{6CA5246C-1974-424B-B053-A488AE7A9CC8}" destId="{9EC13B98-F286-4D48-9951-23DC1C06F943}" srcOrd="8" destOrd="0" presId="urn:microsoft.com/office/officeart/2005/8/layout/list1"/>
    <dgm:cxn modelId="{AB5EA99C-8559-49F5-B6CD-B3962F2FE1E2}" type="presParOf" srcId="{9EC13B98-F286-4D48-9951-23DC1C06F943}" destId="{01E3D856-61A3-4E3E-8529-4DE4EC154601}" srcOrd="0" destOrd="0" presId="urn:microsoft.com/office/officeart/2005/8/layout/list1"/>
    <dgm:cxn modelId="{23D7CEA3-68C5-467F-9586-2D8AD842391E}" type="presParOf" srcId="{9EC13B98-F286-4D48-9951-23DC1C06F943}" destId="{7A105291-DD7D-44C5-9229-49997736D2A6}" srcOrd="1" destOrd="0" presId="urn:microsoft.com/office/officeart/2005/8/layout/list1"/>
    <dgm:cxn modelId="{66C85D13-25BD-497E-B5BE-108EE37C0349}" type="presParOf" srcId="{6CA5246C-1974-424B-B053-A488AE7A9CC8}" destId="{E0C9079B-45A0-48FE-AE08-D368A64165EE}" srcOrd="9" destOrd="0" presId="urn:microsoft.com/office/officeart/2005/8/layout/list1"/>
    <dgm:cxn modelId="{99A6A6E8-4F64-43EB-A85D-13725B1359D1}" type="presParOf" srcId="{6CA5246C-1974-424B-B053-A488AE7A9CC8}" destId="{085E40D1-76D7-423C-9930-75FF755922A5}"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31800-FD96-4EAC-AE46-B10772A0F21D}">
      <dsp:nvSpPr>
        <dsp:cNvPr id="0" name=""/>
        <dsp:cNvSpPr/>
      </dsp:nvSpPr>
      <dsp:spPr>
        <a:xfrm>
          <a:off x="908126" y="4288"/>
          <a:ext cx="3531825" cy="91701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s-CL" sz="2200" kern="1200" dirty="0"/>
            <a:t>Modelo concentrado y de ley superior</a:t>
          </a:r>
        </a:p>
      </dsp:txBody>
      <dsp:txXfrm>
        <a:off x="1366632" y="4288"/>
        <a:ext cx="2614814" cy="917011"/>
      </dsp:txXfrm>
    </dsp:sp>
    <dsp:sp modelId="{C401A0B6-BEA9-4DE4-BC6B-8017AAF44B36}">
      <dsp:nvSpPr>
        <dsp:cNvPr id="0" name=""/>
        <dsp:cNvSpPr/>
      </dsp:nvSpPr>
      <dsp:spPr>
        <a:xfrm>
          <a:off x="4141923" y="82234"/>
          <a:ext cx="3405650" cy="76111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s-CL" sz="1800" kern="1200" dirty="0"/>
            <a:t>Ministerio de Salud ejerce su rol rector</a:t>
          </a:r>
        </a:p>
      </dsp:txBody>
      <dsp:txXfrm>
        <a:off x="4522483" y="82234"/>
        <a:ext cx="2644531" cy="761119"/>
      </dsp:txXfrm>
    </dsp:sp>
    <dsp:sp modelId="{285206B3-6D91-471F-B1A2-3B04540E2966}">
      <dsp:nvSpPr>
        <dsp:cNvPr id="0" name=""/>
        <dsp:cNvSpPr/>
      </dsp:nvSpPr>
      <dsp:spPr>
        <a:xfrm>
          <a:off x="908126" y="1049682"/>
          <a:ext cx="3500303" cy="91701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s-CL" sz="2200" kern="1200" dirty="0"/>
            <a:t>Regulación de profesionales de salud en Chile</a:t>
          </a:r>
        </a:p>
      </dsp:txBody>
      <dsp:txXfrm>
        <a:off x="1366632" y="1049682"/>
        <a:ext cx="2583292" cy="917011"/>
      </dsp:txXfrm>
    </dsp:sp>
    <dsp:sp modelId="{02D41F55-21ED-4640-AE21-3A550B6CC8BE}">
      <dsp:nvSpPr>
        <dsp:cNvPr id="0" name=""/>
        <dsp:cNvSpPr/>
      </dsp:nvSpPr>
      <dsp:spPr>
        <a:xfrm>
          <a:off x="4110400" y="1127628"/>
          <a:ext cx="3479916" cy="76111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s-CL" sz="1800" kern="1200" dirty="0"/>
            <a:t>Formación: LOCE – LGE </a:t>
          </a:r>
        </a:p>
        <a:p>
          <a:pPr marL="0" lvl="0" indent="0" algn="ctr" defTabSz="800100">
            <a:lnSpc>
              <a:spcPct val="90000"/>
            </a:lnSpc>
            <a:spcBef>
              <a:spcPct val="0"/>
            </a:spcBef>
            <a:spcAft>
              <a:spcPct val="35000"/>
            </a:spcAft>
            <a:buNone/>
          </a:pPr>
          <a:r>
            <a:rPr lang="es-CL" sz="1800" kern="1200" dirty="0"/>
            <a:t>Ejercicio: Código sanitario</a:t>
          </a:r>
        </a:p>
      </dsp:txBody>
      <dsp:txXfrm>
        <a:off x="4490960" y="1127628"/>
        <a:ext cx="2718797" cy="761119"/>
      </dsp:txXfrm>
    </dsp:sp>
    <dsp:sp modelId="{982DBA9A-49C8-4BF1-BDB8-0AFD83D61C4A}">
      <dsp:nvSpPr>
        <dsp:cNvPr id="0" name=""/>
        <dsp:cNvSpPr/>
      </dsp:nvSpPr>
      <dsp:spPr>
        <a:xfrm>
          <a:off x="908126" y="2095076"/>
          <a:ext cx="3531825" cy="91701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s-CL" sz="2200" kern="1200" dirty="0"/>
            <a:t>Código Sanitario</a:t>
          </a:r>
        </a:p>
      </dsp:txBody>
      <dsp:txXfrm>
        <a:off x="1366632" y="2095076"/>
        <a:ext cx="2614814" cy="917011"/>
      </dsp:txXfrm>
    </dsp:sp>
    <dsp:sp modelId="{DD90E6E9-2E4F-4965-9DA2-2C0308824A7F}">
      <dsp:nvSpPr>
        <dsp:cNvPr id="0" name=""/>
        <dsp:cNvSpPr/>
      </dsp:nvSpPr>
      <dsp:spPr>
        <a:xfrm>
          <a:off x="4141923" y="2173022"/>
          <a:ext cx="3405650" cy="76111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s-CL" sz="1800" kern="1200" dirty="0"/>
            <a:t>Ley 3.385/1918, Ley 226/1931 y DFL 725/1968</a:t>
          </a:r>
        </a:p>
      </dsp:txBody>
      <dsp:txXfrm>
        <a:off x="4522483" y="2173022"/>
        <a:ext cx="2644531" cy="761119"/>
      </dsp:txXfrm>
    </dsp:sp>
    <dsp:sp modelId="{9DAEB434-0767-40A3-80EF-1DC46B90E272}">
      <dsp:nvSpPr>
        <dsp:cNvPr id="0" name=""/>
        <dsp:cNvSpPr/>
      </dsp:nvSpPr>
      <dsp:spPr>
        <a:xfrm>
          <a:off x="908126" y="3140469"/>
          <a:ext cx="3531825" cy="91701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s-CL" sz="2200" kern="1200" dirty="0"/>
            <a:t>Libro V</a:t>
          </a:r>
        </a:p>
      </dsp:txBody>
      <dsp:txXfrm>
        <a:off x="1366632" y="3140469"/>
        <a:ext cx="2614814" cy="917011"/>
      </dsp:txXfrm>
    </dsp:sp>
    <dsp:sp modelId="{DA83B583-E7F0-4B8B-AB1A-DE1E98C4BC2A}">
      <dsp:nvSpPr>
        <dsp:cNvPr id="0" name=""/>
        <dsp:cNvSpPr/>
      </dsp:nvSpPr>
      <dsp:spPr>
        <a:xfrm>
          <a:off x="4141923" y="3218415"/>
          <a:ext cx="3405650" cy="76111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s-ES" sz="1800" kern="1200" dirty="0"/>
            <a:t>Del ejercicio de la medicina y profesiones afines</a:t>
          </a:r>
          <a:endParaRPr lang="es-CL" sz="1800" kern="1200" dirty="0"/>
        </a:p>
      </dsp:txBody>
      <dsp:txXfrm>
        <a:off x="4522483" y="3218415"/>
        <a:ext cx="2644531" cy="761119"/>
      </dsp:txXfrm>
    </dsp:sp>
    <dsp:sp modelId="{4DA0E67F-7720-40F5-9055-803FFF076E16}">
      <dsp:nvSpPr>
        <dsp:cNvPr id="0" name=""/>
        <dsp:cNvSpPr/>
      </dsp:nvSpPr>
      <dsp:spPr>
        <a:xfrm>
          <a:off x="908126" y="4185863"/>
          <a:ext cx="3540995" cy="91701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marL="0" lvl="0" indent="0" algn="ctr" defTabSz="977900">
            <a:lnSpc>
              <a:spcPct val="90000"/>
            </a:lnSpc>
            <a:spcBef>
              <a:spcPct val="0"/>
            </a:spcBef>
            <a:spcAft>
              <a:spcPct val="35000"/>
            </a:spcAft>
            <a:buNone/>
          </a:pPr>
          <a:r>
            <a:rPr lang="es-CL" sz="2200" kern="1200" dirty="0"/>
            <a:t>Proyecto de ley</a:t>
          </a:r>
        </a:p>
      </dsp:txBody>
      <dsp:txXfrm>
        <a:off x="1366632" y="4185863"/>
        <a:ext cx="2623984" cy="917011"/>
      </dsp:txXfrm>
    </dsp:sp>
    <dsp:sp modelId="{7B2E2EA1-D966-4C03-9B71-D95CDD8144E7}">
      <dsp:nvSpPr>
        <dsp:cNvPr id="0" name=""/>
        <dsp:cNvSpPr/>
      </dsp:nvSpPr>
      <dsp:spPr>
        <a:xfrm>
          <a:off x="4151093" y="4263809"/>
          <a:ext cx="3477328" cy="761119"/>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s-CL" sz="1800" kern="1200" dirty="0"/>
            <a:t>Proyecto refundido</a:t>
          </a:r>
        </a:p>
        <a:p>
          <a:pPr marL="0" lvl="0" indent="0" algn="ctr" defTabSz="800100">
            <a:lnSpc>
              <a:spcPct val="90000"/>
            </a:lnSpc>
            <a:spcBef>
              <a:spcPct val="0"/>
            </a:spcBef>
            <a:spcAft>
              <a:spcPct val="35000"/>
            </a:spcAft>
            <a:buNone/>
          </a:pPr>
          <a:r>
            <a:rPr lang="es-CL" sz="1800" kern="1200" dirty="0"/>
            <a:t>Indicaciones sustitutivas</a:t>
          </a:r>
        </a:p>
      </dsp:txBody>
      <dsp:txXfrm>
        <a:off x="4531653" y="4263809"/>
        <a:ext cx="2716209" cy="76111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23921-3EC5-4EF1-913F-9784C9329F5D}">
      <dsp:nvSpPr>
        <dsp:cNvPr id="0" name=""/>
        <dsp:cNvSpPr/>
      </dsp:nvSpPr>
      <dsp:spPr>
        <a:xfrm>
          <a:off x="0" y="397621"/>
          <a:ext cx="8128000" cy="529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EFF6E9-D472-4E6A-8E13-F7B16B278C72}">
      <dsp:nvSpPr>
        <dsp:cNvPr id="0" name=""/>
        <dsp:cNvSpPr/>
      </dsp:nvSpPr>
      <dsp:spPr>
        <a:xfrm>
          <a:off x="406400" y="87661"/>
          <a:ext cx="5689600" cy="6199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MX" sz="1900" kern="1200" dirty="0"/>
            <a:t>TÉCNICOS EN SALUD DE NIVEL SUPERIOR</a:t>
          </a:r>
          <a:endParaRPr lang="es-CL" sz="1900" kern="1200" dirty="0"/>
        </a:p>
      </dsp:txBody>
      <dsp:txXfrm>
        <a:off x="436662" y="117923"/>
        <a:ext cx="5629076" cy="559396"/>
      </dsp:txXfrm>
    </dsp:sp>
    <dsp:sp modelId="{1DE297D5-5B46-4150-A37B-4FE63CD9A2B5}">
      <dsp:nvSpPr>
        <dsp:cNvPr id="0" name=""/>
        <dsp:cNvSpPr/>
      </dsp:nvSpPr>
      <dsp:spPr>
        <a:xfrm>
          <a:off x="0" y="1350181"/>
          <a:ext cx="8128000" cy="529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DB0CD6-1136-42A9-B8F2-28FDFA315584}">
      <dsp:nvSpPr>
        <dsp:cNvPr id="0" name=""/>
        <dsp:cNvSpPr/>
      </dsp:nvSpPr>
      <dsp:spPr>
        <a:xfrm>
          <a:off x="406400" y="1040221"/>
          <a:ext cx="6731991" cy="619920"/>
        </a:xfrm>
        <a:prstGeom prst="roundRect">
          <a:avLst/>
        </a:prstGeom>
        <a:solidFill>
          <a:srgbClr val="4472C4">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TÉCNICOS DE ENFERMERÍA DE NIVEL SUPERIOR</a:t>
          </a:r>
        </a:p>
      </dsp:txBody>
      <dsp:txXfrm>
        <a:off x="436662" y="1070483"/>
        <a:ext cx="6671467" cy="559396"/>
      </dsp:txXfrm>
    </dsp:sp>
    <dsp:sp modelId="{C5DB52DE-FF7E-4D3A-84E5-A0F5CF666A8F}">
      <dsp:nvSpPr>
        <dsp:cNvPr id="0" name=""/>
        <dsp:cNvSpPr/>
      </dsp:nvSpPr>
      <dsp:spPr>
        <a:xfrm>
          <a:off x="0" y="2302741"/>
          <a:ext cx="8128000" cy="529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F22B47-DA30-4117-9B05-EAC20E9B1AE4}">
      <dsp:nvSpPr>
        <dsp:cNvPr id="0" name=""/>
        <dsp:cNvSpPr/>
      </dsp:nvSpPr>
      <dsp:spPr>
        <a:xfrm>
          <a:off x="406400" y="1992781"/>
          <a:ext cx="6731991" cy="6199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TÉCNICOS DE ODONTOLOGÍA DE NIVEL SUPERIOR</a:t>
          </a:r>
        </a:p>
      </dsp:txBody>
      <dsp:txXfrm>
        <a:off x="436662" y="2023043"/>
        <a:ext cx="6671467" cy="559396"/>
      </dsp:txXfrm>
    </dsp:sp>
    <dsp:sp modelId="{085E40D1-76D7-423C-9930-75FF755922A5}">
      <dsp:nvSpPr>
        <dsp:cNvPr id="0" name=""/>
        <dsp:cNvSpPr/>
      </dsp:nvSpPr>
      <dsp:spPr>
        <a:xfrm>
          <a:off x="0" y="3255301"/>
          <a:ext cx="8128000" cy="529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105291-DD7D-44C5-9229-49997736D2A6}">
      <dsp:nvSpPr>
        <dsp:cNvPr id="0" name=""/>
        <dsp:cNvSpPr/>
      </dsp:nvSpPr>
      <dsp:spPr>
        <a:xfrm>
          <a:off x="406400" y="2945341"/>
          <a:ext cx="5689600" cy="619920"/>
        </a:xfrm>
        <a:prstGeom prst="roundRect">
          <a:avLst/>
        </a:prstGeom>
        <a:solidFill>
          <a:srgbClr val="C00000"/>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LABORATORISTA DENTAL</a:t>
          </a:r>
        </a:p>
      </dsp:txBody>
      <dsp:txXfrm>
        <a:off x="436662" y="2975603"/>
        <a:ext cx="5629076" cy="5593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5981112" y="-3339268"/>
          <a:ext cx="1336908"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s-MX" sz="1600" kern="1200" dirty="0"/>
            <a:t>Los profesionales, técnicos y auxiliares de la salud tienen el deber que las acciones o intervenciones ejecutadas en el ejercicio de sus funciones se otorguen de acuerdo con el marco regulatorio vigente; a los protocolos establecidos en materia de seguridad del paciente y calidad de la atención de salud, y aquellos que la autoridad establece como vinculantes para los prestadores de salud; considerando siempre la lex artis y las circunstancias concretas del caso.</a:t>
          </a:r>
          <a:endParaRPr lang="es-CL" sz="1600" kern="1200" dirty="0"/>
        </a:p>
      </dsp:txBody>
      <dsp:txXfrm rot="-5400000">
        <a:off x="2485710" y="221396"/>
        <a:ext cx="8262450" cy="1206384"/>
      </dsp:txXfrm>
    </dsp:sp>
    <dsp:sp modelId="{2621620F-01FC-4819-A3A0-A1170814BB4E}">
      <dsp:nvSpPr>
        <dsp:cNvPr id="0" name=""/>
        <dsp:cNvSpPr/>
      </dsp:nvSpPr>
      <dsp:spPr>
        <a:xfrm>
          <a:off x="0" y="904"/>
          <a:ext cx="2483989" cy="16473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Responsabilidad</a:t>
          </a:r>
          <a:endParaRPr lang="es-CL" sz="2000" kern="1200" dirty="0"/>
        </a:p>
      </dsp:txBody>
      <dsp:txXfrm>
        <a:off x="80418" y="81322"/>
        <a:ext cx="2323153" cy="1486530"/>
      </dsp:txXfrm>
    </dsp:sp>
    <dsp:sp modelId="{2AE938B4-440A-400B-92AA-2978E9B3BD67}">
      <dsp:nvSpPr>
        <dsp:cNvPr id="0" name=""/>
        <dsp:cNvSpPr/>
      </dsp:nvSpPr>
      <dsp:spPr>
        <a:xfrm rot="5400000">
          <a:off x="5606595" y="-1107429"/>
          <a:ext cx="2081206" cy="8322947"/>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s-MX" sz="1600" kern="1200" dirty="0"/>
            <a:t>Prohíbase a una misma persona ejercer conjuntamente las profesiones de médico-cirujano y las de farmacéutico, químico-farmacéutico o bioquímico.</a:t>
          </a:r>
          <a:endParaRPr lang="es-CL" sz="1600" kern="1200" dirty="0"/>
        </a:p>
        <a:p>
          <a:pPr marL="171450" lvl="1" indent="-171450" algn="l" defTabSz="711200">
            <a:lnSpc>
              <a:spcPct val="90000"/>
            </a:lnSpc>
            <a:spcBef>
              <a:spcPct val="0"/>
            </a:spcBef>
            <a:spcAft>
              <a:spcPct val="15000"/>
            </a:spcAft>
            <a:buChar char="•"/>
          </a:pPr>
          <a:r>
            <a:rPr lang="es-MX" sz="1600" kern="1200" dirty="0"/>
            <a:t>Se considera ejercicio ilegal a quien otorgare acciones de salud propias del ámbito de competencia específica del ejercicio de los profesionales, técnicos y auxiliares de salud mencionados en este Libro, sin estar legalmente autorizado para ello.</a:t>
          </a:r>
          <a:endParaRPr lang="es-CL" sz="1600" kern="1200" dirty="0"/>
        </a:p>
        <a:p>
          <a:pPr marL="171450" lvl="1" indent="-171450" algn="l" defTabSz="711200">
            <a:lnSpc>
              <a:spcPct val="90000"/>
            </a:lnSpc>
            <a:spcBef>
              <a:spcPct val="0"/>
            </a:spcBef>
            <a:spcAft>
              <a:spcPct val="15000"/>
            </a:spcAft>
            <a:buChar char="•"/>
          </a:pPr>
          <a:r>
            <a:rPr lang="es-MX" sz="1600" kern="1200" dirty="0"/>
            <a:t>Sin perjuicio de lo expuesto en el inciso precedente, los profesionales, técnicos y auxiliares de salud legalmente habilitados podrán otorgar acciones de salud en caso de accidentes en situaciones de emergencia o riesgo de muerte o de secuela grave, cuando no se cuente con el personal sanitario respectivo en la localidad o cuando habiéndolo, no sea posible su asistencia profesional.</a:t>
          </a:r>
          <a:endParaRPr lang="es-CL" sz="1600" kern="1200" dirty="0"/>
        </a:p>
      </dsp:txBody>
      <dsp:txXfrm rot="-5400000">
        <a:off x="2485725" y="2115037"/>
        <a:ext cx="8221351" cy="1878014"/>
      </dsp:txXfrm>
    </dsp:sp>
    <dsp:sp modelId="{85A37A78-5217-4B2F-AE20-7E9A7EF47F9A}">
      <dsp:nvSpPr>
        <dsp:cNvPr id="0" name=""/>
        <dsp:cNvSpPr/>
      </dsp:nvSpPr>
      <dsp:spPr>
        <a:xfrm>
          <a:off x="1721" y="1778729"/>
          <a:ext cx="2484003" cy="255062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Ejercicio ilegal</a:t>
          </a:r>
          <a:endParaRPr lang="es-CL" sz="2000" kern="1200" dirty="0"/>
        </a:p>
      </dsp:txBody>
      <dsp:txXfrm>
        <a:off x="122980" y="1899988"/>
        <a:ext cx="2241485" cy="230811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F46BB-5C59-4567-A529-27AEE793D1F0}">
      <dsp:nvSpPr>
        <dsp:cNvPr id="0" name=""/>
        <dsp:cNvSpPr/>
      </dsp:nvSpPr>
      <dsp:spPr>
        <a:xfrm rot="5400000">
          <a:off x="4368996" y="-1741478"/>
          <a:ext cx="4560236" cy="833140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s-CL" sz="1600" kern="1200" dirty="0"/>
            <a:t>Las y los profesionales habilitados para prescribir e indicar no podrán ejercer su profesión y tener interés patrimonial que diga relación directa con su actividad, en establecimientos destinados a la importación e internación; exportación; producción; fabricación; distribución; y venta y publicidad de medicamentos, dispositivos de uso médico, alimentos de uso médico, cosméticos, y en general los productos sanitarios mencionados en este Código propios del ejercicio de su profesión, a menos que el respectivo colegio profesional emita en cada caso un informe estableciendo que no se vulnera la ética profesional. </a:t>
          </a:r>
          <a:r>
            <a:rPr lang="es-CL" sz="1600" kern="1200" dirty="0" err="1"/>
            <a:t>Exceptúase</a:t>
          </a:r>
          <a:r>
            <a:rPr lang="es-CL" sz="1600" kern="1200" dirty="0"/>
            <a:t> de esta prohibición a las y los químicos farmacéuticos, y a las y los profesionales habilitados que, en determinadas situaciones, prescriben o indican insumos especiales requeridos para el ejercicio de una acción de salud de otros profesionales de la salud mencionados en este Libro.</a:t>
          </a:r>
        </a:p>
        <a:p>
          <a:pPr marL="171450" lvl="1" indent="-171450" algn="l" defTabSz="711200">
            <a:lnSpc>
              <a:spcPct val="90000"/>
            </a:lnSpc>
            <a:spcBef>
              <a:spcPct val="0"/>
            </a:spcBef>
            <a:spcAft>
              <a:spcPct val="15000"/>
            </a:spcAft>
            <a:buChar char="•"/>
          </a:pPr>
          <a:r>
            <a:rPr lang="es-CL" sz="1600" kern="1200" dirty="0"/>
            <a:t>Un reglamento dictado por el Ministerio de Salud regulará lo dispuesto en el inciso precedente, debiendo especificar las excepciones a las que hace referencia el inciso anterior.</a:t>
          </a:r>
        </a:p>
        <a:p>
          <a:pPr marL="171450" lvl="1" indent="-171450" algn="l" defTabSz="711200">
            <a:lnSpc>
              <a:spcPct val="90000"/>
            </a:lnSpc>
            <a:spcBef>
              <a:spcPct val="0"/>
            </a:spcBef>
            <a:spcAft>
              <a:spcPct val="15000"/>
            </a:spcAft>
            <a:buChar char="•"/>
          </a:pPr>
          <a:r>
            <a:rPr lang="es-CL" sz="1600" kern="1200" dirty="0"/>
            <a:t>Las y los funcionarios públicos que ejerzan como médico-cirujano farmacéutico, químico-farmacéutico, bioquímico, u otra profesión que los habilite para prescribir e indicar, deberán siempre realizar una declaración de patrimonio e intereses en los términos establecidos por el Título II de la ley </a:t>
          </a:r>
          <a:r>
            <a:rPr lang="es-CL" sz="1600" kern="1200" dirty="0" err="1"/>
            <a:t>N°</a:t>
          </a:r>
          <a:r>
            <a:rPr lang="es-CL" sz="1600" kern="1200" dirty="0"/>
            <a:t> 20.880 sobre probidad en la función pública y la prevención del conflicto de intereses.</a:t>
          </a:r>
        </a:p>
      </dsp:txBody>
      <dsp:txXfrm rot="-5400000">
        <a:off x="2483411" y="366719"/>
        <a:ext cx="8108794" cy="4115012"/>
      </dsp:txXfrm>
    </dsp:sp>
    <dsp:sp modelId="{63854DA7-BB4F-4F5D-973D-A74908BB234F}">
      <dsp:nvSpPr>
        <dsp:cNvPr id="0" name=""/>
        <dsp:cNvSpPr/>
      </dsp:nvSpPr>
      <dsp:spPr>
        <a:xfrm>
          <a:off x="327" y="3"/>
          <a:ext cx="2483083" cy="484844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Interés Patrimonial</a:t>
          </a:r>
          <a:endParaRPr lang="es-CL" sz="2000" kern="1200" dirty="0"/>
        </a:p>
      </dsp:txBody>
      <dsp:txXfrm>
        <a:off x="121541" y="121217"/>
        <a:ext cx="2240655" cy="460601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4540160" y="-1689222"/>
          <a:ext cx="4218813"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s-MX" sz="1600" kern="1200" dirty="0"/>
            <a:t>La Secretaría Regional Ministerial de Salud respectiva podrá autorizar el ejercicio como profesional, técnico o auxiliar de la salud, a quienes acrediten un título equivalente otorgado en el extranjero, de conformidad al reglamento dictado por el Ministerio de Salud y/o los convenios internacionales vigentes.</a:t>
          </a:r>
          <a:endParaRPr lang="es-CL" sz="1600" kern="1200" dirty="0"/>
        </a:p>
        <a:p>
          <a:pPr marL="171450" lvl="1" indent="-171450" algn="l" defTabSz="711200">
            <a:lnSpc>
              <a:spcPct val="90000"/>
            </a:lnSpc>
            <a:spcBef>
              <a:spcPct val="0"/>
            </a:spcBef>
            <a:spcAft>
              <a:spcPct val="15000"/>
            </a:spcAft>
            <a:buChar char="•"/>
          </a:pPr>
          <a:endParaRPr lang="es-CL" sz="1600" kern="1200" dirty="0"/>
        </a:p>
        <a:p>
          <a:pPr marL="171450" lvl="1" indent="-171450" algn="l" defTabSz="711200">
            <a:lnSpc>
              <a:spcPct val="90000"/>
            </a:lnSpc>
            <a:spcBef>
              <a:spcPct val="0"/>
            </a:spcBef>
            <a:spcAft>
              <a:spcPct val="15000"/>
            </a:spcAft>
            <a:buChar char="•"/>
          </a:pPr>
          <a:r>
            <a:rPr lang="es-MX" sz="1600" kern="1200" dirty="0"/>
            <a:t>Asimismo, la autoridad de salud también podrá autorizar a las personas señaladas en el inciso primero en las siguientes circunstancias:</a:t>
          </a:r>
          <a:endParaRPr lang="es-CL" sz="1600" kern="1200" dirty="0"/>
        </a:p>
        <a:p>
          <a:pPr marL="171450" lvl="1" indent="-171450" algn="l" defTabSz="711200">
            <a:lnSpc>
              <a:spcPct val="90000"/>
            </a:lnSpc>
            <a:spcBef>
              <a:spcPct val="0"/>
            </a:spcBef>
            <a:spcAft>
              <a:spcPct val="15000"/>
            </a:spcAft>
            <a:buFont typeface="+mj-lt"/>
            <a:buAutoNum type="alphaLcParenR"/>
          </a:pPr>
          <a:r>
            <a:rPr lang="es-MX" sz="1600" kern="1200" dirty="0"/>
            <a:t> Cuando acompañen en calidad de tales a autoridades extranjeras en el territorio de la República en visita oficial, para su atención exclusiva mientras dure la visita.</a:t>
          </a:r>
          <a:endParaRPr lang="es-CL" sz="1600" kern="1200" dirty="0"/>
        </a:p>
        <a:p>
          <a:pPr marL="171450" lvl="1" indent="-171450" algn="l" defTabSz="711200">
            <a:lnSpc>
              <a:spcPct val="90000"/>
            </a:lnSpc>
            <a:spcBef>
              <a:spcPct val="0"/>
            </a:spcBef>
            <a:spcAft>
              <a:spcPct val="15000"/>
            </a:spcAft>
            <a:buFont typeface="+mj-lt"/>
            <a:buAutoNum type="alphaLcParenR"/>
          </a:pPr>
          <a:r>
            <a:rPr lang="es-MX" sz="1600" kern="1200" dirty="0"/>
            <a:t> Cuando realicen actividades docentes invitados formalmente por una institución académica del Estado o reconocida por este y que se encuentre en el territorio de la República, mientras se realice dicha actividad. </a:t>
          </a:r>
          <a:endParaRPr lang="es-CL" sz="1600" kern="1200" dirty="0"/>
        </a:p>
        <a:p>
          <a:pPr marL="171450" lvl="1" indent="-171450" algn="l" defTabSz="711200">
            <a:lnSpc>
              <a:spcPct val="90000"/>
            </a:lnSpc>
            <a:spcBef>
              <a:spcPct val="0"/>
            </a:spcBef>
            <a:spcAft>
              <a:spcPct val="15000"/>
            </a:spcAft>
            <a:buFont typeface="+mj-lt"/>
            <a:buAutoNum type="alphaLcParenR"/>
          </a:pPr>
          <a:r>
            <a:rPr lang="es-MX" sz="1600" kern="1200" dirty="0"/>
            <a:t> Cuando se desempeñen en lugares apartados, hasta por un plazo de dos años, no renovable. Dichas localidades serán determinadas por las Secretarías Regionales Ministeriales de Salud, en base a los criterios definidos en el reglamento señalado en el inciso primero del presente artículo.</a:t>
          </a:r>
          <a:endParaRPr lang="es-CL" sz="1600" kern="1200" dirty="0"/>
        </a:p>
        <a:p>
          <a:pPr marL="171450" lvl="1" indent="-171450" algn="l" defTabSz="711200">
            <a:lnSpc>
              <a:spcPct val="90000"/>
            </a:lnSpc>
            <a:spcBef>
              <a:spcPct val="0"/>
            </a:spcBef>
            <a:spcAft>
              <a:spcPct val="15000"/>
            </a:spcAft>
            <a:buFont typeface="+mj-lt"/>
            <a:buAutoNum type="alphaLcParenR"/>
          </a:pPr>
          <a:r>
            <a:rPr lang="es-MX" sz="1600" kern="1200" dirty="0"/>
            <a:t> En casos de alerta sanitaria y de estados de excepción constitucional de catástrofe, emergencia, sitio y asamblea, mientras se encuentren vigentes.</a:t>
          </a:r>
          <a:endParaRPr lang="es-CL" sz="1600" kern="1200" dirty="0"/>
        </a:p>
      </dsp:txBody>
      <dsp:txXfrm rot="-5400000">
        <a:off x="2485711" y="571172"/>
        <a:ext cx="8121767" cy="3806923"/>
      </dsp:txXfrm>
    </dsp:sp>
    <dsp:sp modelId="{2621620F-01FC-4819-A3A0-A1170814BB4E}">
      <dsp:nvSpPr>
        <dsp:cNvPr id="0" name=""/>
        <dsp:cNvSpPr/>
      </dsp:nvSpPr>
      <dsp:spPr>
        <a:xfrm>
          <a:off x="0" y="2412"/>
          <a:ext cx="2483989" cy="494444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Situaciones Excepcionales</a:t>
          </a:r>
        </a:p>
        <a:p>
          <a:pPr marL="0" lvl="0" indent="0" algn="ctr" defTabSz="889000">
            <a:lnSpc>
              <a:spcPct val="90000"/>
            </a:lnSpc>
            <a:spcBef>
              <a:spcPct val="0"/>
            </a:spcBef>
            <a:spcAft>
              <a:spcPct val="35000"/>
            </a:spcAft>
            <a:buNone/>
          </a:pPr>
          <a:r>
            <a:rPr lang="es-MX" sz="2000" kern="1200" dirty="0"/>
            <a:t>(Parte 1)</a:t>
          </a:r>
          <a:endParaRPr lang="es-CL" sz="2000" kern="1200" dirty="0"/>
        </a:p>
      </dsp:txBody>
      <dsp:txXfrm>
        <a:off x="121258" y="123670"/>
        <a:ext cx="2241473" cy="470192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4770065" y="-1998724"/>
          <a:ext cx="3759002"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s-MX" sz="1400" kern="1200" dirty="0"/>
            <a:t>La autorización otorgada al amparo de las circunstancias señaladas en este literal podrá extenderse hasta por el plazo de un año, contado desde el término de la alerta o estado de excepción constitucional bajo el cual se otorga. Para ello, en caso de que la autorización sea para ejercer como médico cirujano, la persona deberá acreditar dentro del plazo de seis meses contados desde el término de la respectiva alerta sanitaria o estado de excepción constitucional que se encuentra inscrito para rendir el Examen Único Nacional de Conocimientos de Medicina, o aquel que lo reemplace. En el caso de ser una autorización para otro tipo de integrante del equipo de atención de salud, la persona deberá acreditar que se ha inscrito para rendir el Examen Único Nacional de Conocimientos de Salud, o el que corresponda, dentro del mismo plazo. Si no se cumpliere con esta inscripción en el plazo señalado, la autorización caducará de pleno derecho, y no podrá volver a otorgarse.</a:t>
          </a:r>
          <a:endParaRPr lang="es-CL" sz="1400" kern="1200" dirty="0"/>
        </a:p>
        <a:p>
          <a:pPr marL="114300" lvl="1" indent="-114300" algn="l" defTabSz="622300">
            <a:lnSpc>
              <a:spcPct val="90000"/>
            </a:lnSpc>
            <a:spcBef>
              <a:spcPct val="0"/>
            </a:spcBef>
            <a:spcAft>
              <a:spcPct val="15000"/>
            </a:spcAft>
            <a:buChar char="•"/>
          </a:pPr>
          <a:r>
            <a:rPr lang="es-MX" sz="1400" kern="1200" dirty="0"/>
            <a:t>Asimismo, la Secretaría Regional Ministerial de Salud respectiva podrá autorizar a profesionales especialistas, para el ejercicio de su respectiva especialidad, hasta por el plazo de un año a contar del término de vigencia de la alerta sanitaria o del estado de excepción constitucional respectivo. Para ello, la o el profesional deberá acreditar que se encuentra inscrito para certificar la respectiva especialidad, de acuerdo con las normas que se aplican al Sistema de Certificación de especialidades y subespecialidades. Este plazo solo podrá prorrogarse, por una sola vez y hasta seis meses contados desde el vencimiento del plazo original, si a su término, la o el profesional no ha certificado la especialidad por causa atribuible a la respectiva entidad certificadora en la que se inscribió al obtener la autorización. Transcurrido este plazo, la autorización caducará de pleno derecho y no podrá otorgarse esta al mismo profesional si se trata de la misma especialidad.</a:t>
          </a:r>
          <a:endParaRPr lang="es-CL" sz="1400" kern="1200" dirty="0"/>
        </a:p>
      </dsp:txBody>
      <dsp:txXfrm rot="-5400000">
        <a:off x="2485711" y="469129"/>
        <a:ext cx="8144213" cy="3392004"/>
      </dsp:txXfrm>
    </dsp:sp>
    <dsp:sp modelId="{2621620F-01FC-4819-A3A0-A1170814BB4E}">
      <dsp:nvSpPr>
        <dsp:cNvPr id="0" name=""/>
        <dsp:cNvSpPr/>
      </dsp:nvSpPr>
      <dsp:spPr>
        <a:xfrm>
          <a:off x="0" y="2111"/>
          <a:ext cx="2483989" cy="4326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Situaciones Excepcionales</a:t>
          </a:r>
        </a:p>
        <a:p>
          <a:pPr marL="0" lvl="0" indent="0" algn="ctr" defTabSz="889000">
            <a:lnSpc>
              <a:spcPct val="90000"/>
            </a:lnSpc>
            <a:spcBef>
              <a:spcPct val="0"/>
            </a:spcBef>
            <a:spcAft>
              <a:spcPct val="35000"/>
            </a:spcAft>
            <a:buNone/>
          </a:pPr>
          <a:r>
            <a:rPr lang="es-MX" sz="2000" kern="1200" dirty="0"/>
            <a:t>(Parte 2)</a:t>
          </a:r>
          <a:endParaRPr lang="es-CL" sz="2000" kern="1200" dirty="0"/>
        </a:p>
      </dsp:txBody>
      <dsp:txXfrm>
        <a:off x="121258" y="123369"/>
        <a:ext cx="2241473" cy="408352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5146581" y="-1998724"/>
          <a:ext cx="3005970"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endParaRPr lang="es-CL" sz="1600" kern="1200" dirty="0"/>
        </a:p>
        <a:p>
          <a:pPr marL="171450" lvl="1" indent="-171450" algn="l" defTabSz="711200">
            <a:lnSpc>
              <a:spcPct val="90000"/>
            </a:lnSpc>
            <a:spcBef>
              <a:spcPct val="0"/>
            </a:spcBef>
            <a:spcAft>
              <a:spcPct val="15000"/>
            </a:spcAft>
            <a:buChar char="•"/>
          </a:pPr>
          <a:endParaRPr lang="es-CL" sz="1600" kern="1200" dirty="0"/>
        </a:p>
        <a:p>
          <a:pPr marL="171450" lvl="1" indent="-171450" algn="l" defTabSz="711200">
            <a:lnSpc>
              <a:spcPct val="90000"/>
            </a:lnSpc>
            <a:spcBef>
              <a:spcPct val="0"/>
            </a:spcBef>
            <a:spcAft>
              <a:spcPct val="15000"/>
            </a:spcAft>
            <a:buChar char="•"/>
          </a:pPr>
          <a:r>
            <a:rPr lang="es-MX" sz="1600" kern="1200" dirty="0"/>
            <a:t>En el caso de las y los estudiantes de las carreras que conducen a título profesional, técnicos o auxiliares contemplados en este Libro y que se encuentren cursando su último año, internado o en periodo de práctica final, podrán -bajo supervisión profesional directa- ejercer en los términos señalados en el párrafo segundo de esta letra.</a:t>
          </a:r>
          <a:endParaRPr lang="es-CL" sz="1600" kern="1200" dirty="0"/>
        </a:p>
        <a:p>
          <a:pPr marL="171450" lvl="1" indent="-171450" algn="l" defTabSz="711200">
            <a:lnSpc>
              <a:spcPct val="90000"/>
            </a:lnSpc>
            <a:spcBef>
              <a:spcPct val="0"/>
            </a:spcBef>
            <a:spcAft>
              <a:spcPct val="15000"/>
            </a:spcAft>
            <a:buChar char="•"/>
          </a:pPr>
          <a:endParaRPr lang="es-CL" sz="1600" kern="1200" dirty="0"/>
        </a:p>
        <a:p>
          <a:pPr marL="171450" lvl="1" indent="-171450" algn="l" defTabSz="711200">
            <a:lnSpc>
              <a:spcPct val="90000"/>
            </a:lnSpc>
            <a:spcBef>
              <a:spcPct val="0"/>
            </a:spcBef>
            <a:spcAft>
              <a:spcPct val="15000"/>
            </a:spcAft>
            <a:buChar char="•"/>
          </a:pPr>
          <a:r>
            <a:rPr lang="es-MX" sz="1600" kern="1200" dirty="0"/>
            <a:t>Estas autorizaciones deberán cumplir las demás disposiciones sanitarias aplicables al otorgamiento de acciones de salud que rigen en el territorio nacional.</a:t>
          </a:r>
          <a:endParaRPr lang="es-CL" sz="1600" kern="1200" dirty="0"/>
        </a:p>
        <a:p>
          <a:pPr marL="171450" lvl="1" indent="-171450" algn="l" defTabSz="711200">
            <a:lnSpc>
              <a:spcPct val="90000"/>
            </a:lnSpc>
            <a:spcBef>
              <a:spcPct val="0"/>
            </a:spcBef>
            <a:spcAft>
              <a:spcPct val="15000"/>
            </a:spcAft>
            <a:buChar char="•"/>
          </a:pPr>
          <a:endParaRPr lang="es-CL" sz="1600" kern="1200" dirty="0"/>
        </a:p>
        <a:p>
          <a:pPr marL="171450" lvl="1" indent="-171450" algn="l" defTabSz="711200">
            <a:lnSpc>
              <a:spcPct val="90000"/>
            </a:lnSpc>
            <a:spcBef>
              <a:spcPct val="0"/>
            </a:spcBef>
            <a:spcAft>
              <a:spcPct val="15000"/>
            </a:spcAft>
            <a:buChar char="•"/>
          </a:pPr>
          <a:r>
            <a:rPr lang="es-MX" sz="1600" kern="1200" dirty="0"/>
            <a:t>El reglamento a que hace referencia el inciso primero del presente artículo establecerá los criterios, procedimientos y demás condiciones necesarias para que la autoridad sanitaria pueda otorgar y revocar estar autorizaciones.</a:t>
          </a:r>
          <a:endParaRPr lang="es-CL" sz="1600" kern="1200" dirty="0"/>
        </a:p>
        <a:p>
          <a:pPr marL="171450" lvl="1" indent="-171450" algn="l" defTabSz="711200">
            <a:lnSpc>
              <a:spcPct val="90000"/>
            </a:lnSpc>
            <a:spcBef>
              <a:spcPct val="0"/>
            </a:spcBef>
            <a:spcAft>
              <a:spcPct val="15000"/>
            </a:spcAft>
            <a:buChar char="•"/>
          </a:pPr>
          <a:endParaRPr lang="es-CL" sz="1600" kern="1200" dirty="0"/>
        </a:p>
      </dsp:txBody>
      <dsp:txXfrm rot="-5400000">
        <a:off x="2485711" y="808885"/>
        <a:ext cx="8180973" cy="2712492"/>
      </dsp:txXfrm>
    </dsp:sp>
    <dsp:sp modelId="{2621620F-01FC-4819-A3A0-A1170814BB4E}">
      <dsp:nvSpPr>
        <dsp:cNvPr id="0" name=""/>
        <dsp:cNvSpPr/>
      </dsp:nvSpPr>
      <dsp:spPr>
        <a:xfrm>
          <a:off x="0" y="252245"/>
          <a:ext cx="2483989" cy="382577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Situaciones Excepcionales</a:t>
          </a:r>
        </a:p>
        <a:p>
          <a:pPr marL="0" lvl="0" indent="0" algn="ctr" defTabSz="889000">
            <a:lnSpc>
              <a:spcPct val="90000"/>
            </a:lnSpc>
            <a:spcBef>
              <a:spcPct val="0"/>
            </a:spcBef>
            <a:spcAft>
              <a:spcPct val="35000"/>
            </a:spcAft>
            <a:buNone/>
          </a:pPr>
          <a:r>
            <a:rPr lang="es-MX" sz="2000" kern="1200" dirty="0"/>
            <a:t>(Parte 3)</a:t>
          </a:r>
          <a:endParaRPr lang="es-CL" sz="2000" kern="1200" dirty="0"/>
        </a:p>
      </dsp:txBody>
      <dsp:txXfrm>
        <a:off x="121258" y="373503"/>
        <a:ext cx="2241473" cy="358325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4770065" y="-1998724"/>
          <a:ext cx="3759002"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s-MX" sz="1400" kern="1200" dirty="0"/>
            <a:t>La prescripción de productos farmacéuticos y la indicación de dispositivos de uso médico, ayudas técnicas y alimentos de uso médico a los que se refiere el Libro Cuarto, constituyen un acto de la o el médico cirujano en toda ocasión, de la o el cirujano dentista, y la o el médico veterinario en su ámbito de acción, el o la matrona de acuerdo a lo indicado en el inciso cuarto del artículo 114° D, y de la o el tecnólogo médico mención en oftalmología de acuerdo a lo indicado en el literal e) del artículo 114° K; todos actuando como prescriptor independiente, entendido como el profesional que posee plena autoridad de prescribir productos farmacéuticos e indicar dispositivos de uso médico, ayudas técnicas y alimentos de uso médico en el ámbito de aplicación definido según sus competencias.</a:t>
          </a:r>
          <a:endParaRPr lang="es-CL" sz="1400" kern="1200" dirty="0"/>
        </a:p>
        <a:p>
          <a:pPr marL="114300" lvl="1" indent="-114300" algn="l" defTabSz="622300">
            <a:lnSpc>
              <a:spcPct val="90000"/>
            </a:lnSpc>
            <a:spcBef>
              <a:spcPct val="0"/>
            </a:spcBef>
            <a:spcAft>
              <a:spcPct val="15000"/>
            </a:spcAft>
            <a:buChar char="•"/>
          </a:pPr>
          <a:endParaRPr lang="es-CL" sz="1400" kern="1200" dirty="0"/>
        </a:p>
        <a:p>
          <a:pPr marL="114300" lvl="1" indent="-114300" algn="l" defTabSz="622300">
            <a:lnSpc>
              <a:spcPct val="90000"/>
            </a:lnSpc>
            <a:spcBef>
              <a:spcPct val="0"/>
            </a:spcBef>
            <a:spcAft>
              <a:spcPct val="15000"/>
            </a:spcAft>
            <a:buChar char="•"/>
          </a:pPr>
          <a:r>
            <a:rPr lang="es-MX" sz="1400" kern="1200" dirty="0"/>
            <a:t>Sin perjuicio de lo establecido en el inciso anterior, las y los profesionales no médicos mencionados en este Libro y que se incluyan en el reglamento a que se hace referencia en este artículo, podrán actuar como prescriptor suplementario. Se entiende por prescriptor suplementario a la o el profesional que efectúa prescripción de productos farmacéuticos o indicación de dispositivos de uso médico, ayudas técnicas y alimentos de uso médico en su ámbito de acción; en el ejercicio de su profesión y al interior del establecimiento de salud respectivo. </a:t>
          </a:r>
          <a:endParaRPr lang="es-CL" sz="1400" kern="1200" dirty="0"/>
        </a:p>
      </dsp:txBody>
      <dsp:txXfrm rot="-5400000">
        <a:off x="2485711" y="469129"/>
        <a:ext cx="8144213" cy="3392004"/>
      </dsp:txXfrm>
    </dsp:sp>
    <dsp:sp modelId="{2621620F-01FC-4819-A3A0-A1170814BB4E}">
      <dsp:nvSpPr>
        <dsp:cNvPr id="0" name=""/>
        <dsp:cNvSpPr/>
      </dsp:nvSpPr>
      <dsp:spPr>
        <a:xfrm>
          <a:off x="0" y="2111"/>
          <a:ext cx="2483989" cy="4326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Prescripción de productos farmacéuticos e Indicación de dispositivos médicos, ayudas técnicas y alimentos de uso médico</a:t>
          </a:r>
        </a:p>
        <a:p>
          <a:pPr marL="0" lvl="0" indent="0" algn="ctr" defTabSz="889000">
            <a:lnSpc>
              <a:spcPct val="90000"/>
            </a:lnSpc>
            <a:spcBef>
              <a:spcPct val="0"/>
            </a:spcBef>
            <a:spcAft>
              <a:spcPct val="35000"/>
            </a:spcAft>
            <a:buNone/>
          </a:pPr>
          <a:r>
            <a:rPr lang="es-MX" sz="2000" kern="1200" dirty="0"/>
            <a:t>(Parte 1)</a:t>
          </a:r>
          <a:endParaRPr lang="es-CL" sz="2000" kern="1200" dirty="0"/>
        </a:p>
      </dsp:txBody>
      <dsp:txXfrm>
        <a:off x="121258" y="123369"/>
        <a:ext cx="2241473" cy="408352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4770065" y="-1998724"/>
          <a:ext cx="3759002"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s-MX" sz="1400" kern="1200" dirty="0"/>
            <a:t>Para ser prescriptor suplementario deben concurrir de manera copulativa los siguientes requisitos: </a:t>
          </a:r>
          <a:endParaRPr lang="es-CL" sz="1400" kern="1200" dirty="0"/>
        </a:p>
        <a:p>
          <a:pPr marL="114300" lvl="1" indent="-114300" algn="l" defTabSz="622300">
            <a:lnSpc>
              <a:spcPct val="90000"/>
            </a:lnSpc>
            <a:spcBef>
              <a:spcPct val="0"/>
            </a:spcBef>
            <a:spcAft>
              <a:spcPct val="15000"/>
            </a:spcAft>
            <a:buChar char="•"/>
          </a:pP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exista un diagnóstico médico previo del paciente que requiera prescripción o indicación suplementaria dentro del ámbito de acción de la o el profesional que otorga la receta y/u orden.</a:t>
          </a: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exista un vínculo contractual vigente entre la o el profesional y el establecimiento de salud donde ejerce su profesión.</a:t>
          </a: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la o el profesional realice dicha prescripción o indicación en su horario laboral y al interior del establecimiento de salud.</a:t>
          </a: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la o el profesional únicamente utilice para la prescripción o indicación el o los medios formales del establecimiento en que se desempeña, tales como, receta u orden según corresponda con el membrete del establecimiento respectivo, o receta u orden electrónica.</a:t>
          </a: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la o el profesional cuente con certificación de competencias para prescribir productos farmacéuticos e indicar dispositivos de uso médico, ayudas técnicas y alimentos de uso médico en el ámbito de aplicación definido según sus competencias.</a:t>
          </a: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la o el profesional cumpla con los demás requisitos que establezca un reglamento expedido por el Ministerio de Salud. </a:t>
          </a:r>
          <a:endParaRPr lang="es-CL" sz="1400" kern="1200" dirty="0"/>
        </a:p>
        <a:p>
          <a:pPr marL="114300" lvl="1" indent="-114300" algn="l" defTabSz="622300">
            <a:lnSpc>
              <a:spcPct val="90000"/>
            </a:lnSpc>
            <a:spcBef>
              <a:spcPct val="0"/>
            </a:spcBef>
            <a:spcAft>
              <a:spcPct val="15000"/>
            </a:spcAft>
            <a:buFont typeface="+mj-lt"/>
            <a:buAutoNum type="alphaLcParenR"/>
          </a:pPr>
          <a:r>
            <a:rPr lang="es-MX" sz="1400" kern="1200" dirty="0"/>
            <a:t> Que el establecimiento de salud respectivo cumpla las condiciones necesarias para que exista la prescripción suplementaria en sus dependencias.</a:t>
          </a:r>
          <a:endParaRPr lang="es-CL" sz="1400" kern="1200" dirty="0"/>
        </a:p>
      </dsp:txBody>
      <dsp:txXfrm rot="-5400000">
        <a:off x="2485711" y="469129"/>
        <a:ext cx="8144213" cy="3392004"/>
      </dsp:txXfrm>
    </dsp:sp>
    <dsp:sp modelId="{2621620F-01FC-4819-A3A0-A1170814BB4E}">
      <dsp:nvSpPr>
        <dsp:cNvPr id="0" name=""/>
        <dsp:cNvSpPr/>
      </dsp:nvSpPr>
      <dsp:spPr>
        <a:xfrm>
          <a:off x="0" y="2111"/>
          <a:ext cx="2483989" cy="4326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Prescripción de productos farmacéuticos e Indicación de dispositivos médicos, ayudas técnicas y alimentos de uso médico</a:t>
          </a:r>
        </a:p>
        <a:p>
          <a:pPr marL="0" lvl="0" indent="0" algn="ctr" defTabSz="889000">
            <a:lnSpc>
              <a:spcPct val="90000"/>
            </a:lnSpc>
            <a:spcBef>
              <a:spcPct val="0"/>
            </a:spcBef>
            <a:spcAft>
              <a:spcPct val="35000"/>
            </a:spcAft>
            <a:buNone/>
          </a:pPr>
          <a:r>
            <a:rPr lang="es-MX" sz="2000" kern="1200" dirty="0"/>
            <a:t>(Parte 2)</a:t>
          </a:r>
          <a:endParaRPr lang="es-CL" sz="2000" kern="1200" dirty="0"/>
        </a:p>
      </dsp:txBody>
      <dsp:txXfrm>
        <a:off x="121258" y="123369"/>
        <a:ext cx="2241473" cy="4083524"/>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4609035" y="-1998724"/>
          <a:ext cx="4081063"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s-MX" sz="1400" kern="1200" dirty="0"/>
            <a:t>Un reglamento dictado por el Ministerio de Salud deberá establecer, al menos, los requisitos para la obtención de la certificación de competencias para efectuar prescripciones o indicaciones suplementarias, los cuales deberán exigir al menos experiencia clínica y formación, protocolos que señalen la forma en que se efectuará la prescripción o indicación suplementaria, los productos sanitarios que cada profesional de la salud podrá prescribir o indicar estando relacionados con sus respectivas áreas de desempeño, y las condiciones que debe disponer el establecimiento de salud para que exista la prescripción suplementaria en sus dependencias.</a:t>
          </a:r>
          <a:endParaRPr lang="es-CL" sz="1400" kern="1200" dirty="0"/>
        </a:p>
        <a:p>
          <a:pPr marL="114300" lvl="1" indent="-114300" algn="l" defTabSz="622300">
            <a:lnSpc>
              <a:spcPct val="90000"/>
            </a:lnSpc>
            <a:spcBef>
              <a:spcPct val="0"/>
            </a:spcBef>
            <a:spcAft>
              <a:spcPct val="15000"/>
            </a:spcAft>
            <a:buChar char="•"/>
          </a:pPr>
          <a:endParaRPr lang="es-CL" sz="1400" kern="1200" dirty="0"/>
        </a:p>
        <a:p>
          <a:pPr marL="114300" lvl="1" indent="-114300" algn="l" defTabSz="622300">
            <a:lnSpc>
              <a:spcPct val="90000"/>
            </a:lnSpc>
            <a:spcBef>
              <a:spcPct val="0"/>
            </a:spcBef>
            <a:spcAft>
              <a:spcPct val="15000"/>
            </a:spcAft>
            <a:buChar char="•"/>
          </a:pPr>
          <a:r>
            <a:rPr lang="es-MX" sz="1400" kern="1200" dirty="0"/>
            <a:t>Queda expresamente prohibido a las y los prescriptores suplementarios la prescripción de medicamentos psicotrópicos y estupefacientes, la indicación de dispositivos médicos invasivos de tipo quirúrgicos, y todo producto sanitario que no sea incluido en el reglamento a que se hace referencia en el inciso anterior. Asimismo, se prohíbe prescribir o indicar en el ejercicio autónomo de la profesión.</a:t>
          </a:r>
          <a:endParaRPr lang="es-CL" sz="1400" kern="1200" dirty="0"/>
        </a:p>
        <a:p>
          <a:pPr marL="114300" lvl="1" indent="-114300" algn="l" defTabSz="622300">
            <a:lnSpc>
              <a:spcPct val="90000"/>
            </a:lnSpc>
            <a:spcBef>
              <a:spcPct val="0"/>
            </a:spcBef>
            <a:spcAft>
              <a:spcPct val="15000"/>
            </a:spcAft>
            <a:buChar char="•"/>
          </a:pPr>
          <a:endParaRPr lang="es-CL" sz="1400" kern="1200" dirty="0"/>
        </a:p>
        <a:p>
          <a:pPr marL="114300" lvl="1" indent="-114300" algn="l" defTabSz="622300">
            <a:lnSpc>
              <a:spcPct val="90000"/>
            </a:lnSpc>
            <a:spcBef>
              <a:spcPct val="0"/>
            </a:spcBef>
            <a:spcAft>
              <a:spcPct val="15000"/>
            </a:spcAft>
            <a:buChar char="•"/>
          </a:pPr>
          <a:r>
            <a:rPr lang="es-MX" sz="1400" kern="1200" dirty="0"/>
            <a:t>El uso indebido de la prescripción suplementaria a la que se refiere este artículo implicará la suspensión inmediata de esta facultad. De la misma manera, dicha situación conllevará la instrucción de un sumario sanitario, de acuerdo con lo establecido en el Libro X de este Código, el que podrá aplicar como sanción adicional, la inhabilitación hasta por cinco años para este tipo de prescripción.</a:t>
          </a:r>
          <a:endParaRPr lang="es-CL" sz="1400" kern="1200" dirty="0"/>
        </a:p>
      </dsp:txBody>
      <dsp:txXfrm rot="-5400000">
        <a:off x="2485711" y="323821"/>
        <a:ext cx="8128491" cy="3682621"/>
      </dsp:txXfrm>
    </dsp:sp>
    <dsp:sp modelId="{2621620F-01FC-4819-A3A0-A1170814BB4E}">
      <dsp:nvSpPr>
        <dsp:cNvPr id="0" name=""/>
        <dsp:cNvSpPr/>
      </dsp:nvSpPr>
      <dsp:spPr>
        <a:xfrm>
          <a:off x="0" y="2111"/>
          <a:ext cx="2483989" cy="43260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Prescripción de productos farmacéuticos e Indicación de dispositivos médicos, ayudas técnicas y alimentos de uso médico</a:t>
          </a:r>
        </a:p>
        <a:p>
          <a:pPr marL="0" lvl="0" indent="0" algn="ctr" defTabSz="889000">
            <a:lnSpc>
              <a:spcPct val="90000"/>
            </a:lnSpc>
            <a:spcBef>
              <a:spcPct val="0"/>
            </a:spcBef>
            <a:spcAft>
              <a:spcPct val="35000"/>
            </a:spcAft>
            <a:buNone/>
          </a:pPr>
          <a:r>
            <a:rPr lang="es-MX" sz="2000" kern="1200" dirty="0"/>
            <a:t>(Parte 3)</a:t>
          </a:r>
          <a:endParaRPr lang="es-CL" sz="2000" kern="1200" dirty="0"/>
        </a:p>
      </dsp:txBody>
      <dsp:txXfrm>
        <a:off x="121258" y="123369"/>
        <a:ext cx="2241473" cy="408352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AE5F6-B281-4E3F-AC46-5B962412DE97}">
      <dsp:nvSpPr>
        <dsp:cNvPr id="0" name=""/>
        <dsp:cNvSpPr/>
      </dsp:nvSpPr>
      <dsp:spPr>
        <a:xfrm rot="5400000">
          <a:off x="5466509" y="-2827704"/>
          <a:ext cx="2366116" cy="832771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s-MX" sz="1400" kern="1200" dirty="0"/>
            <a:t>La autoridad sanitaria establecerá un Examen Único Nacional de Conocimientos de salud por cada tipo de profesional integrante del equipo de atención de salud mencionado en este Libro.</a:t>
          </a:r>
          <a:endParaRPr lang="es-CL" sz="1400" kern="1200" dirty="0"/>
        </a:p>
        <a:p>
          <a:pPr marL="114300" lvl="1" indent="-114300" algn="l" defTabSz="622300">
            <a:lnSpc>
              <a:spcPct val="90000"/>
            </a:lnSpc>
            <a:spcBef>
              <a:spcPct val="0"/>
            </a:spcBef>
            <a:spcAft>
              <a:spcPct val="15000"/>
            </a:spcAft>
            <a:buChar char="•"/>
          </a:pPr>
          <a:endParaRPr lang="es-CL" sz="1400" kern="1200" dirty="0"/>
        </a:p>
        <a:p>
          <a:pPr marL="114300" lvl="1" indent="-114300" algn="l" defTabSz="622300">
            <a:lnSpc>
              <a:spcPct val="90000"/>
            </a:lnSpc>
            <a:spcBef>
              <a:spcPct val="0"/>
            </a:spcBef>
            <a:spcAft>
              <a:spcPct val="15000"/>
            </a:spcAft>
            <a:buChar char="•"/>
          </a:pPr>
          <a:r>
            <a:rPr lang="es-MX" sz="1400" kern="1200" dirty="0"/>
            <a:t>Un reglamento, dictado por el Ministerio de Salud, establecerá los criterios generales del examen de conocimientos establecido en el presente artículo con el perfil profesional requerido para el cumplimiento de los objetivos de la política nacional de salud, así como también, aquellos que aseguren la objetividad, transparencia, igualdad y adecuada publicidad en su diseño y administración, y, en general toda otra materia relacionada con su exigencia, aplicación y evaluación. Asimismo, el reglamento determinará la puntuación mínima requerida ya sea a través de una nota, calificación, porcentaje, u otro factor análogo de medición, para efecto de lo dispuesto en este Libro, y, en general, contendrá toda otra norma necesaria para la adecuada y eficiente aplicación del presente artículo.</a:t>
          </a:r>
          <a:endParaRPr lang="es-CL" sz="1400" kern="1200" dirty="0"/>
        </a:p>
      </dsp:txBody>
      <dsp:txXfrm rot="-5400000">
        <a:off x="2485711" y="268598"/>
        <a:ext cx="8212208" cy="2135108"/>
      </dsp:txXfrm>
    </dsp:sp>
    <dsp:sp modelId="{2621620F-01FC-4819-A3A0-A1170814BB4E}">
      <dsp:nvSpPr>
        <dsp:cNvPr id="0" name=""/>
        <dsp:cNvSpPr/>
      </dsp:nvSpPr>
      <dsp:spPr>
        <a:xfrm>
          <a:off x="0" y="49"/>
          <a:ext cx="2483989" cy="267220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s-MX" sz="2000" kern="1200" dirty="0"/>
            <a:t>Examen Nacional</a:t>
          </a:r>
          <a:endParaRPr lang="es-CL" sz="2000" kern="1200" dirty="0"/>
        </a:p>
      </dsp:txBody>
      <dsp:txXfrm>
        <a:off x="121258" y="121307"/>
        <a:ext cx="2241473" cy="2429689"/>
      </dsp:txXfrm>
    </dsp:sp>
    <dsp:sp modelId="{98F9A854-8546-4A8B-A8D5-7C43F2E73A22}">
      <dsp:nvSpPr>
        <dsp:cNvPr id="0" name=""/>
        <dsp:cNvSpPr/>
      </dsp:nvSpPr>
      <dsp:spPr>
        <a:xfrm rot="5400000">
          <a:off x="6201622" y="-606091"/>
          <a:ext cx="884017" cy="8329673"/>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s-MX" sz="1400" kern="1200" dirty="0">
              <a:solidFill>
                <a:srgbClr val="000000">
                  <a:hueOff val="0"/>
                  <a:satOff val="0"/>
                  <a:lumOff val="0"/>
                  <a:alphaOff val="0"/>
                </a:srgbClr>
              </a:solidFill>
              <a:latin typeface="Arial"/>
              <a:ea typeface="+mn-ea"/>
              <a:cs typeface="+mn-cs"/>
            </a:rPr>
            <a:t>La autoridad sanitaria podrá establecer un sistema de certificación de especialidades y subespecialidades de los prestadores individuales de salud legalmente habilitados para ejercer sus respectivas profesiones, de acuerdo con las funciones definidas en el decreto con fuerza de ley </a:t>
          </a:r>
          <a:r>
            <a:rPr lang="es-MX" sz="1400" kern="1200" dirty="0" err="1">
              <a:solidFill>
                <a:srgbClr val="000000">
                  <a:hueOff val="0"/>
                  <a:satOff val="0"/>
                  <a:lumOff val="0"/>
                  <a:alphaOff val="0"/>
                </a:srgbClr>
              </a:solidFill>
              <a:latin typeface="Arial"/>
              <a:ea typeface="+mn-ea"/>
              <a:cs typeface="+mn-cs"/>
            </a:rPr>
            <a:t>N°</a:t>
          </a:r>
          <a:r>
            <a:rPr lang="es-MX" sz="1400" kern="1200" dirty="0">
              <a:solidFill>
                <a:srgbClr val="000000">
                  <a:hueOff val="0"/>
                  <a:satOff val="0"/>
                  <a:lumOff val="0"/>
                  <a:alphaOff val="0"/>
                </a:srgbClr>
              </a:solidFill>
              <a:latin typeface="Arial"/>
              <a:ea typeface="+mn-ea"/>
              <a:cs typeface="+mn-cs"/>
            </a:rPr>
            <a:t> 1, de 2005, del Ministerio de Salud.</a:t>
          </a:r>
          <a:endParaRPr lang="es-CL" sz="1400" kern="1200" dirty="0">
            <a:solidFill>
              <a:srgbClr val="000000">
                <a:hueOff val="0"/>
                <a:satOff val="0"/>
                <a:lumOff val="0"/>
                <a:alphaOff val="0"/>
              </a:srgbClr>
            </a:solidFill>
            <a:latin typeface="Arial"/>
            <a:ea typeface="+mn-ea"/>
            <a:cs typeface="+mn-cs"/>
          </a:endParaRPr>
        </a:p>
      </dsp:txBody>
      <dsp:txXfrm rot="-5400000">
        <a:off x="2478794" y="3159891"/>
        <a:ext cx="8286519" cy="797709"/>
      </dsp:txXfrm>
    </dsp:sp>
    <dsp:sp modelId="{CDDAD772-9E5E-4B70-A14E-2DFFDFA34906}">
      <dsp:nvSpPr>
        <dsp:cNvPr id="0" name=""/>
        <dsp:cNvSpPr/>
      </dsp:nvSpPr>
      <dsp:spPr>
        <a:xfrm>
          <a:off x="1721" y="2787326"/>
          <a:ext cx="2477073" cy="15429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s-MX" sz="2400" kern="1200" dirty="0"/>
            <a:t>Especialidades</a:t>
          </a:r>
          <a:endParaRPr lang="es-CL" sz="2400" kern="1200" dirty="0"/>
        </a:p>
      </dsp:txBody>
      <dsp:txXfrm>
        <a:off x="77041" y="2862646"/>
        <a:ext cx="2326433" cy="13922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B1A99D-023B-4D61-8071-89B463272CCA}">
      <dsp:nvSpPr>
        <dsp:cNvPr id="0" name=""/>
        <dsp:cNvSpPr/>
      </dsp:nvSpPr>
      <dsp:spPr>
        <a:xfrm>
          <a:off x="3411" y="107861"/>
          <a:ext cx="3326250" cy="835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s-CL" sz="2900" kern="1200" dirty="0"/>
            <a:t>Mención explícita</a:t>
          </a:r>
        </a:p>
      </dsp:txBody>
      <dsp:txXfrm>
        <a:off x="3411" y="107861"/>
        <a:ext cx="3326250" cy="835200"/>
      </dsp:txXfrm>
    </dsp:sp>
    <dsp:sp modelId="{BBC5908F-BAC2-4DBC-B8AF-E473AA6498EC}">
      <dsp:nvSpPr>
        <dsp:cNvPr id="0" name=""/>
        <dsp:cNvSpPr/>
      </dsp:nvSpPr>
      <dsp:spPr>
        <a:xfrm>
          <a:off x="3411" y="943061"/>
          <a:ext cx="3326250" cy="5413140"/>
        </a:xfrm>
        <a:prstGeom prst="rect">
          <a:avLst/>
        </a:prstGeom>
        <a:solidFill>
          <a:srgbClr val="D0D8E8">
            <a:alpha val="8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s-CL" sz="2900" kern="1200" dirty="0"/>
            <a:t>Medicina</a:t>
          </a:r>
        </a:p>
        <a:p>
          <a:pPr marL="285750" lvl="1" indent="-285750" algn="l" defTabSz="1289050">
            <a:lnSpc>
              <a:spcPct val="90000"/>
            </a:lnSpc>
            <a:spcBef>
              <a:spcPct val="0"/>
            </a:spcBef>
            <a:spcAft>
              <a:spcPct val="15000"/>
            </a:spcAft>
            <a:buChar char="•"/>
          </a:pPr>
          <a:r>
            <a:rPr lang="es-CL" sz="2900" kern="1200" dirty="0"/>
            <a:t>Odontología</a:t>
          </a:r>
        </a:p>
        <a:p>
          <a:pPr marL="285750" lvl="1" indent="-285750" algn="l" defTabSz="1289050">
            <a:lnSpc>
              <a:spcPct val="90000"/>
            </a:lnSpc>
            <a:spcBef>
              <a:spcPct val="0"/>
            </a:spcBef>
            <a:spcAft>
              <a:spcPct val="15000"/>
            </a:spcAft>
            <a:buChar char="•"/>
          </a:pPr>
          <a:r>
            <a:rPr lang="es-CL" sz="2900" kern="1200" dirty="0"/>
            <a:t>Química y Farmacia</a:t>
          </a:r>
        </a:p>
        <a:p>
          <a:pPr marL="285750" lvl="1" indent="-285750" algn="l" defTabSz="1289050">
            <a:lnSpc>
              <a:spcPct val="90000"/>
            </a:lnSpc>
            <a:spcBef>
              <a:spcPct val="0"/>
            </a:spcBef>
            <a:spcAft>
              <a:spcPct val="15000"/>
            </a:spcAft>
            <a:buChar char="•"/>
          </a:pPr>
          <a:r>
            <a:rPr lang="es-CL" sz="2900" kern="1200" dirty="0"/>
            <a:t>Psicología</a:t>
          </a:r>
        </a:p>
        <a:p>
          <a:pPr marL="285750" lvl="1" indent="-285750" algn="l" defTabSz="1289050">
            <a:lnSpc>
              <a:spcPct val="90000"/>
            </a:lnSpc>
            <a:spcBef>
              <a:spcPct val="0"/>
            </a:spcBef>
            <a:spcAft>
              <a:spcPct val="15000"/>
            </a:spcAft>
            <a:buChar char="•"/>
          </a:pPr>
          <a:r>
            <a:rPr lang="es-CL" sz="2900" kern="1200" dirty="0"/>
            <a:t>Enfermería</a:t>
          </a:r>
        </a:p>
        <a:p>
          <a:pPr marL="285750" lvl="1" indent="-285750" algn="l" defTabSz="1289050">
            <a:lnSpc>
              <a:spcPct val="90000"/>
            </a:lnSpc>
            <a:spcBef>
              <a:spcPct val="0"/>
            </a:spcBef>
            <a:spcAft>
              <a:spcPct val="15000"/>
            </a:spcAft>
            <a:buChar char="•"/>
          </a:pPr>
          <a:r>
            <a:rPr lang="es-CL" sz="2900" kern="1200" dirty="0"/>
            <a:t>Tecnología Medica Oftalmología</a:t>
          </a:r>
        </a:p>
        <a:p>
          <a:pPr marL="285750" lvl="1" indent="-285750" algn="l" defTabSz="1289050">
            <a:lnSpc>
              <a:spcPct val="90000"/>
            </a:lnSpc>
            <a:spcBef>
              <a:spcPct val="0"/>
            </a:spcBef>
            <a:spcAft>
              <a:spcPct val="15000"/>
            </a:spcAft>
            <a:buChar char="•"/>
          </a:pPr>
          <a:r>
            <a:rPr lang="es-CL" sz="2900" kern="1200" dirty="0" err="1"/>
            <a:t>Matronería</a:t>
          </a:r>
          <a:endParaRPr lang="es-CL" sz="2900" kern="1200" dirty="0"/>
        </a:p>
        <a:p>
          <a:pPr marL="285750" lvl="1" indent="-285750" algn="l" defTabSz="1289050">
            <a:lnSpc>
              <a:spcPct val="90000"/>
            </a:lnSpc>
            <a:spcBef>
              <a:spcPct val="0"/>
            </a:spcBef>
            <a:spcAft>
              <a:spcPct val="15000"/>
            </a:spcAft>
            <a:buChar char="•"/>
          </a:pPr>
          <a:r>
            <a:rPr lang="es-CL" sz="2900" kern="1200" dirty="0"/>
            <a:t>Profesiones auxiliares</a:t>
          </a:r>
        </a:p>
      </dsp:txBody>
      <dsp:txXfrm>
        <a:off x="3411" y="943061"/>
        <a:ext cx="3326250" cy="5413140"/>
      </dsp:txXfrm>
    </dsp:sp>
    <dsp:sp modelId="{2288C203-7D2D-4F1C-A9C4-6C0C72696611}">
      <dsp:nvSpPr>
        <dsp:cNvPr id="0" name=""/>
        <dsp:cNvSpPr/>
      </dsp:nvSpPr>
      <dsp:spPr>
        <a:xfrm>
          <a:off x="3795336" y="107861"/>
          <a:ext cx="3326250" cy="835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s-CL" sz="2900" kern="1200" dirty="0"/>
            <a:t>Mención implícita</a:t>
          </a:r>
        </a:p>
      </dsp:txBody>
      <dsp:txXfrm>
        <a:off x="3795336" y="107861"/>
        <a:ext cx="3326250" cy="835200"/>
      </dsp:txXfrm>
    </dsp:sp>
    <dsp:sp modelId="{6C142A8E-B617-4773-9B32-D2E7CDE681A1}">
      <dsp:nvSpPr>
        <dsp:cNvPr id="0" name=""/>
        <dsp:cNvSpPr/>
      </dsp:nvSpPr>
      <dsp:spPr>
        <a:xfrm>
          <a:off x="3795336" y="943061"/>
          <a:ext cx="3326250" cy="5413140"/>
        </a:xfrm>
        <a:prstGeom prst="rect">
          <a:avLst/>
        </a:prstGeom>
        <a:solidFill>
          <a:srgbClr val="D0D8E8">
            <a:alpha val="8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s-CL" sz="2900" kern="1200" dirty="0"/>
            <a:t>Nutrición</a:t>
          </a:r>
        </a:p>
        <a:p>
          <a:pPr marL="285750" lvl="1" indent="-285750" algn="l" defTabSz="1289050">
            <a:lnSpc>
              <a:spcPct val="90000"/>
            </a:lnSpc>
            <a:spcBef>
              <a:spcPct val="0"/>
            </a:spcBef>
            <a:spcAft>
              <a:spcPct val="15000"/>
            </a:spcAft>
            <a:buChar char="•"/>
          </a:pPr>
          <a:r>
            <a:rPr lang="es-CL" sz="2900" kern="1200" dirty="0"/>
            <a:t>Fonoaudiología</a:t>
          </a:r>
        </a:p>
        <a:p>
          <a:pPr marL="285750" lvl="1" indent="-285750" algn="l" defTabSz="1289050">
            <a:lnSpc>
              <a:spcPct val="90000"/>
            </a:lnSpc>
            <a:spcBef>
              <a:spcPct val="0"/>
            </a:spcBef>
            <a:spcAft>
              <a:spcPct val="15000"/>
            </a:spcAft>
            <a:buChar char="•"/>
          </a:pPr>
          <a:r>
            <a:rPr lang="es-CL" sz="2900" kern="1200" dirty="0"/>
            <a:t>Terapia Ocupacional</a:t>
          </a:r>
        </a:p>
        <a:p>
          <a:pPr marL="285750" lvl="1" indent="-285750" algn="l" defTabSz="1289050">
            <a:lnSpc>
              <a:spcPct val="90000"/>
            </a:lnSpc>
            <a:spcBef>
              <a:spcPct val="0"/>
            </a:spcBef>
            <a:spcAft>
              <a:spcPct val="15000"/>
            </a:spcAft>
            <a:buChar char="•"/>
          </a:pPr>
          <a:r>
            <a:rPr lang="es-CL" sz="2900" kern="1200" dirty="0"/>
            <a:t>Kinesiología</a:t>
          </a:r>
        </a:p>
        <a:p>
          <a:pPr marL="285750" lvl="1" indent="-285750" algn="l" defTabSz="1289050">
            <a:lnSpc>
              <a:spcPct val="90000"/>
            </a:lnSpc>
            <a:spcBef>
              <a:spcPct val="0"/>
            </a:spcBef>
            <a:spcAft>
              <a:spcPct val="15000"/>
            </a:spcAft>
            <a:buChar char="•"/>
          </a:pPr>
          <a:r>
            <a:rPr lang="es-CL" sz="2900" kern="1200" dirty="0"/>
            <a:t>Bioquímica</a:t>
          </a:r>
        </a:p>
        <a:p>
          <a:pPr marL="285750" lvl="1" indent="-285750" algn="l" defTabSz="1289050">
            <a:lnSpc>
              <a:spcPct val="90000"/>
            </a:lnSpc>
            <a:spcBef>
              <a:spcPct val="0"/>
            </a:spcBef>
            <a:spcAft>
              <a:spcPct val="15000"/>
            </a:spcAft>
            <a:buChar char="•"/>
          </a:pPr>
          <a:r>
            <a:rPr lang="es-CL" sz="2900" kern="1200" dirty="0"/>
            <a:t>Tecnología médica otras menciones</a:t>
          </a:r>
        </a:p>
        <a:p>
          <a:pPr marL="285750" lvl="1" indent="-285750" algn="l" defTabSz="1289050">
            <a:lnSpc>
              <a:spcPct val="90000"/>
            </a:lnSpc>
            <a:spcBef>
              <a:spcPct val="0"/>
            </a:spcBef>
            <a:spcAft>
              <a:spcPct val="15000"/>
            </a:spcAft>
            <a:buChar char="•"/>
          </a:pPr>
          <a:r>
            <a:rPr lang="es-CL" sz="2900" kern="1200" dirty="0"/>
            <a:t>Medicina Veterinaria</a:t>
          </a:r>
        </a:p>
      </dsp:txBody>
      <dsp:txXfrm>
        <a:off x="3795336" y="943061"/>
        <a:ext cx="3326250" cy="5413140"/>
      </dsp:txXfrm>
    </dsp:sp>
    <dsp:sp modelId="{C00B3C34-FD1C-41B8-B8DA-2227268FD0E1}">
      <dsp:nvSpPr>
        <dsp:cNvPr id="0" name=""/>
        <dsp:cNvSpPr/>
      </dsp:nvSpPr>
      <dsp:spPr>
        <a:xfrm>
          <a:off x="7587262" y="107861"/>
          <a:ext cx="3326250" cy="8352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s-CL" sz="2900" kern="1200" dirty="0"/>
            <a:t>No mencionado</a:t>
          </a:r>
        </a:p>
      </dsp:txBody>
      <dsp:txXfrm>
        <a:off x="7587262" y="107861"/>
        <a:ext cx="3326250" cy="835200"/>
      </dsp:txXfrm>
    </dsp:sp>
    <dsp:sp modelId="{5C43E96F-4834-4C4D-9B83-C2A4DE04D993}">
      <dsp:nvSpPr>
        <dsp:cNvPr id="0" name=""/>
        <dsp:cNvSpPr/>
      </dsp:nvSpPr>
      <dsp:spPr>
        <a:xfrm>
          <a:off x="7587262" y="943061"/>
          <a:ext cx="3326250" cy="5413140"/>
        </a:xfrm>
        <a:prstGeom prst="rect">
          <a:avLst/>
        </a:prstGeom>
        <a:solidFill>
          <a:srgbClr val="D0D8E8">
            <a:alpha val="8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s-CL" sz="2900" kern="1200" dirty="0"/>
            <a:t>Técnicos en Salud:</a:t>
          </a:r>
        </a:p>
        <a:p>
          <a:pPr marL="285750" lvl="1" indent="-285750" algn="l" defTabSz="1289050">
            <a:lnSpc>
              <a:spcPct val="90000"/>
            </a:lnSpc>
            <a:spcBef>
              <a:spcPct val="0"/>
            </a:spcBef>
            <a:spcAft>
              <a:spcPct val="15000"/>
            </a:spcAft>
            <a:buChar char="•"/>
          </a:pPr>
          <a:endParaRPr lang="es-CL" sz="2900" kern="1200" dirty="0"/>
        </a:p>
      </dsp:txBody>
      <dsp:txXfrm>
        <a:off x="7587262" y="943061"/>
        <a:ext cx="3326250" cy="541314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4794C-6DB5-4849-9950-22C233B501F5}">
      <dsp:nvSpPr>
        <dsp:cNvPr id="0" name=""/>
        <dsp:cNvSpPr/>
      </dsp:nvSpPr>
      <dsp:spPr>
        <a:xfrm>
          <a:off x="0" y="1321712"/>
          <a:ext cx="10972800" cy="3017695"/>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MX" sz="2400" kern="1200" dirty="0"/>
            <a:t>“Se entenderá que el equipo de salud comprende a las y los integrantes del equipo de atención de salud regulados en el Libro V del Código Sanitario. Asimismo, el equipo de salud comprende a toda persona que actúe como miembro de un equipo de personas que tiene la función de realizar algún tipo de atención o prestación vinculada al quehacer de salud. Lo anterior incluye a profesionales y no profesionales, tanto del área de la salud como de otras que tengan participación en el quehacer de salud, tales como, las y los </a:t>
          </a:r>
          <a:r>
            <a:rPr lang="es-MX" sz="2400" b="1" kern="1200" dirty="0"/>
            <a:t>trabajadores sociales</a:t>
          </a:r>
          <a:r>
            <a:rPr lang="es-MX" sz="2400" kern="1200" dirty="0"/>
            <a:t>, y personal administrativo.”</a:t>
          </a:r>
          <a:endParaRPr lang="es-CL" sz="2400" kern="1200" dirty="0"/>
        </a:p>
      </dsp:txBody>
      <dsp:txXfrm>
        <a:off x="88385" y="1410097"/>
        <a:ext cx="10796030" cy="284092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4794C-6DB5-4849-9950-22C233B501F5}">
      <dsp:nvSpPr>
        <dsp:cNvPr id="0" name=""/>
        <dsp:cNvSpPr/>
      </dsp:nvSpPr>
      <dsp:spPr>
        <a:xfrm>
          <a:off x="0" y="756806"/>
          <a:ext cx="10972800" cy="376915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s-MX" sz="2200" kern="1200" dirty="0"/>
            <a:t>1. Actualizar el decreto N°16, de 2007, que aprueba el reglamento sobre los registros relativos a los Prestadores Individuales de Salud, o el que lo reemplace.</a:t>
          </a:r>
        </a:p>
        <a:p>
          <a:pPr marL="0" lvl="0" indent="0" algn="l" defTabSz="977900">
            <a:lnSpc>
              <a:spcPct val="90000"/>
            </a:lnSpc>
            <a:spcBef>
              <a:spcPct val="0"/>
            </a:spcBef>
            <a:spcAft>
              <a:spcPct val="35000"/>
            </a:spcAft>
            <a:buNone/>
          </a:pPr>
          <a:endParaRPr lang="es-CL" sz="2200" kern="1200" dirty="0"/>
        </a:p>
        <a:p>
          <a:pPr marL="0" lvl="0" indent="0" algn="l" defTabSz="977900">
            <a:lnSpc>
              <a:spcPct val="90000"/>
            </a:lnSpc>
            <a:spcBef>
              <a:spcPct val="0"/>
            </a:spcBef>
            <a:spcAft>
              <a:spcPct val="35000"/>
            </a:spcAft>
            <a:buNone/>
          </a:pPr>
          <a:r>
            <a:rPr lang="es-MX" sz="2200" kern="1200" dirty="0"/>
            <a:t>2. Dictar el decreto supremo al que hace referencia el inciso tercero del artículo 113°.</a:t>
          </a:r>
          <a:endParaRPr lang="es-CL" sz="2200" kern="1200" dirty="0"/>
        </a:p>
        <a:p>
          <a:pPr marL="0" lvl="0" indent="0" algn="l" defTabSz="977900">
            <a:lnSpc>
              <a:spcPct val="90000"/>
            </a:lnSpc>
            <a:spcBef>
              <a:spcPct val="0"/>
            </a:spcBef>
            <a:spcAft>
              <a:spcPct val="35000"/>
            </a:spcAft>
            <a:buNone/>
          </a:pPr>
          <a:endParaRPr lang="es-CL" sz="2200" kern="1200" dirty="0"/>
        </a:p>
        <a:p>
          <a:pPr marL="0" lvl="0" indent="0" algn="l" defTabSz="977900">
            <a:lnSpc>
              <a:spcPct val="90000"/>
            </a:lnSpc>
            <a:spcBef>
              <a:spcPct val="0"/>
            </a:spcBef>
            <a:spcAft>
              <a:spcPct val="35000"/>
            </a:spcAft>
            <a:buNone/>
          </a:pPr>
          <a:r>
            <a:rPr lang="es-MX" sz="2200" kern="1200" dirty="0"/>
            <a:t>3. Actualizar los reglamentos aludidos en el inciso cuarto del artículo 113.</a:t>
          </a:r>
          <a:endParaRPr lang="es-CL" sz="2200" kern="1200" dirty="0"/>
        </a:p>
        <a:p>
          <a:pPr marL="0" lvl="0" indent="0" algn="l" defTabSz="977900">
            <a:lnSpc>
              <a:spcPct val="90000"/>
            </a:lnSpc>
            <a:spcBef>
              <a:spcPct val="0"/>
            </a:spcBef>
            <a:spcAft>
              <a:spcPct val="35000"/>
            </a:spcAft>
            <a:buNone/>
          </a:pPr>
          <a:endParaRPr lang="es-CL" sz="2200" kern="1200" dirty="0"/>
        </a:p>
        <a:p>
          <a:pPr marL="0" lvl="0" indent="0" algn="l" defTabSz="977900">
            <a:lnSpc>
              <a:spcPct val="90000"/>
            </a:lnSpc>
            <a:spcBef>
              <a:spcPct val="0"/>
            </a:spcBef>
            <a:spcAft>
              <a:spcPct val="35000"/>
            </a:spcAft>
            <a:buNone/>
          </a:pPr>
          <a:r>
            <a:rPr lang="es-MX" sz="2200" kern="1200" dirty="0"/>
            <a:t>4. Dictar los reglamentos mencionados en los artículos 114º E, 117, 118, 120 y 120 ter del Código Sanitario, introducidos por la presente ley.</a:t>
          </a:r>
          <a:endParaRPr lang="es-CL" sz="2200" kern="1200" dirty="0"/>
        </a:p>
      </dsp:txBody>
      <dsp:txXfrm>
        <a:off x="110395" y="867201"/>
        <a:ext cx="10752010" cy="3548366"/>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4794C-6DB5-4849-9950-22C233B501F5}">
      <dsp:nvSpPr>
        <dsp:cNvPr id="0" name=""/>
        <dsp:cNvSpPr/>
      </dsp:nvSpPr>
      <dsp:spPr>
        <a:xfrm>
          <a:off x="0" y="620155"/>
          <a:ext cx="10972800" cy="376915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s-MX" sz="3200" kern="1200" dirty="0"/>
            <a:t>A contar de la fecha de publicación de la presente ley, el Ministerio de Salud deberá dejar sin efecto el Decreto Supremo </a:t>
          </a:r>
          <a:r>
            <a:rPr lang="es-MX" sz="3200" kern="1200" dirty="0" err="1"/>
            <a:t>N°</a:t>
          </a:r>
          <a:r>
            <a:rPr lang="es-MX" sz="3200" kern="1200" dirty="0"/>
            <a:t> 1082, de 8 de noviembre de 1958, del Ministerio de Salud, que aprueba el reglamento sobre el ejercicio de la profesión de kinesiólogo.</a:t>
          </a:r>
          <a:endParaRPr lang="es-CL" sz="3200" kern="1200" dirty="0"/>
        </a:p>
      </dsp:txBody>
      <dsp:txXfrm>
        <a:off x="110395" y="730550"/>
        <a:ext cx="10752010" cy="35483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89F461-C3D2-40E2-8D0C-F6673DBA2E56}">
      <dsp:nvSpPr>
        <dsp:cNvPr id="0" name=""/>
        <dsp:cNvSpPr/>
      </dsp:nvSpPr>
      <dsp:spPr>
        <a:xfrm>
          <a:off x="825923" y="2067"/>
          <a:ext cx="3036156" cy="18216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t>Tuición ética</a:t>
          </a:r>
        </a:p>
      </dsp:txBody>
      <dsp:txXfrm>
        <a:off x="825923" y="2067"/>
        <a:ext cx="3036156" cy="1821694"/>
      </dsp:txXfrm>
    </dsp:sp>
    <dsp:sp modelId="{7AEDB14C-4126-4A52-8E09-F49897C2A5D0}">
      <dsp:nvSpPr>
        <dsp:cNvPr id="0" name=""/>
        <dsp:cNvSpPr/>
      </dsp:nvSpPr>
      <dsp:spPr>
        <a:xfrm>
          <a:off x="4165696" y="2067"/>
          <a:ext cx="3036156" cy="18216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t>Exclusividad Universitaria</a:t>
          </a:r>
        </a:p>
      </dsp:txBody>
      <dsp:txXfrm>
        <a:off x="4165696" y="2067"/>
        <a:ext cx="3036156" cy="1821694"/>
      </dsp:txXfrm>
    </dsp:sp>
    <dsp:sp modelId="{4549198D-A534-4FFF-93ED-013E60E38AEB}">
      <dsp:nvSpPr>
        <dsp:cNvPr id="0" name=""/>
        <dsp:cNvSpPr/>
      </dsp:nvSpPr>
      <dsp:spPr>
        <a:xfrm>
          <a:off x="7505468" y="2067"/>
          <a:ext cx="3036156" cy="18216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t>Medicinas Complementarias (se reconocen como auxiliares D.S. N°42)</a:t>
          </a:r>
        </a:p>
      </dsp:txBody>
      <dsp:txXfrm>
        <a:off x="7505468" y="2067"/>
        <a:ext cx="3036156" cy="1821694"/>
      </dsp:txXfrm>
    </dsp:sp>
    <dsp:sp modelId="{2C9CC21C-4BBF-4FB4-B0AF-CD6E68A4147D}">
      <dsp:nvSpPr>
        <dsp:cNvPr id="0" name=""/>
        <dsp:cNvSpPr/>
      </dsp:nvSpPr>
      <dsp:spPr>
        <a:xfrm>
          <a:off x="825923" y="2127376"/>
          <a:ext cx="3036156" cy="18216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t>Trabajadores Sociales</a:t>
          </a:r>
        </a:p>
      </dsp:txBody>
      <dsp:txXfrm>
        <a:off x="825923" y="2127376"/>
        <a:ext cx="3036156" cy="1821694"/>
      </dsp:txXfrm>
    </dsp:sp>
    <dsp:sp modelId="{A56F5685-E37D-4E75-9E81-1D4A6D2DBE04}">
      <dsp:nvSpPr>
        <dsp:cNvPr id="0" name=""/>
        <dsp:cNvSpPr/>
      </dsp:nvSpPr>
      <dsp:spPr>
        <a:xfrm>
          <a:off x="4165696" y="2127376"/>
          <a:ext cx="3036156" cy="18216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t>Psicopedagogos</a:t>
          </a:r>
        </a:p>
        <a:p>
          <a:pPr marL="0" lvl="0" indent="0" algn="ctr" defTabSz="889000">
            <a:lnSpc>
              <a:spcPct val="90000"/>
            </a:lnSpc>
            <a:spcBef>
              <a:spcPct val="0"/>
            </a:spcBef>
            <a:spcAft>
              <a:spcPct val="35000"/>
            </a:spcAft>
            <a:buNone/>
          </a:pPr>
          <a:r>
            <a:rPr lang="es-ES" sz="2000" kern="1200" dirty="0"/>
            <a:t>Quiroprácticos</a:t>
          </a:r>
        </a:p>
        <a:p>
          <a:pPr marL="0" lvl="0" indent="0" algn="ctr" defTabSz="889000">
            <a:lnSpc>
              <a:spcPct val="90000"/>
            </a:lnSpc>
            <a:spcBef>
              <a:spcPct val="0"/>
            </a:spcBef>
            <a:spcAft>
              <a:spcPct val="35000"/>
            </a:spcAft>
            <a:buNone/>
          </a:pPr>
          <a:r>
            <a:rPr lang="es-ES" sz="2000" kern="1200" dirty="0"/>
            <a:t>Físico Médicos</a:t>
          </a:r>
        </a:p>
      </dsp:txBody>
      <dsp:txXfrm>
        <a:off x="4165696" y="2127376"/>
        <a:ext cx="3036156" cy="1821694"/>
      </dsp:txXfrm>
    </dsp:sp>
    <dsp:sp modelId="{CEDFAA68-DA0A-4F22-B71E-FA1EB58DB060}">
      <dsp:nvSpPr>
        <dsp:cNvPr id="0" name=""/>
        <dsp:cNvSpPr/>
      </dsp:nvSpPr>
      <dsp:spPr>
        <a:xfrm>
          <a:off x="7505468" y="2127376"/>
          <a:ext cx="3036156" cy="18216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kern="1200" dirty="0"/>
            <a:t>NO CONLLEVA COMPROMISOS REMUNERACIONALES O DE ARANCEL FONASA</a:t>
          </a:r>
        </a:p>
      </dsp:txBody>
      <dsp:txXfrm>
        <a:off x="7505468" y="2127376"/>
        <a:ext cx="3036156" cy="182169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4794C-6DB5-4849-9950-22C233B501F5}">
      <dsp:nvSpPr>
        <dsp:cNvPr id="0" name=""/>
        <dsp:cNvSpPr/>
      </dsp:nvSpPr>
      <dsp:spPr>
        <a:xfrm>
          <a:off x="2143" y="891917"/>
          <a:ext cx="4570214" cy="274212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s-CL" sz="3400" kern="1200" dirty="0"/>
            <a:t>DEL EJERCICIO DE LA MEDICINA Y PROFESIONES AFINES</a:t>
          </a:r>
        </a:p>
      </dsp:txBody>
      <dsp:txXfrm>
        <a:off x="82457" y="972231"/>
        <a:ext cx="4409586" cy="2581500"/>
      </dsp:txXfrm>
    </dsp:sp>
    <dsp:sp modelId="{290626FC-604E-4179-9031-4BFFE04B370D}">
      <dsp:nvSpPr>
        <dsp:cNvPr id="0" name=""/>
        <dsp:cNvSpPr/>
      </dsp:nvSpPr>
      <dsp:spPr>
        <a:xfrm>
          <a:off x="5029378" y="1696274"/>
          <a:ext cx="968885" cy="113341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s-CL" sz="2700" kern="1200"/>
        </a:p>
      </dsp:txBody>
      <dsp:txXfrm>
        <a:off x="5029378" y="1922957"/>
        <a:ext cx="678220" cy="680047"/>
      </dsp:txXfrm>
    </dsp:sp>
    <dsp:sp modelId="{0BB79E13-C171-4776-A2BD-684773E07B50}">
      <dsp:nvSpPr>
        <dsp:cNvPr id="0" name=""/>
        <dsp:cNvSpPr/>
      </dsp:nvSpPr>
      <dsp:spPr>
        <a:xfrm>
          <a:off x="6400442" y="891917"/>
          <a:ext cx="4570214" cy="274212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ctr" defTabSz="1511300">
            <a:lnSpc>
              <a:spcPct val="90000"/>
            </a:lnSpc>
            <a:spcBef>
              <a:spcPct val="0"/>
            </a:spcBef>
            <a:spcAft>
              <a:spcPct val="35000"/>
            </a:spcAft>
            <a:buNone/>
          </a:pPr>
          <a:r>
            <a:rPr lang="es-CL" sz="3400" kern="1200" dirty="0"/>
            <a:t>DEL </a:t>
          </a:r>
          <a:r>
            <a:rPr lang="es-MX" sz="3400" kern="1200" dirty="0"/>
            <a:t>EJERCICIO DE LOS INTEGRANTES DEL EQUIPO DE </a:t>
          </a:r>
          <a:r>
            <a:rPr lang="es-CL" sz="3400" kern="1200" dirty="0"/>
            <a:t>ATENCIÓN DE SALUD</a:t>
          </a:r>
        </a:p>
      </dsp:txBody>
      <dsp:txXfrm>
        <a:off x="6480756" y="972231"/>
        <a:ext cx="4409586" cy="25815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9073CC-202D-4060-84A3-4B1BA246CB7E}">
      <dsp:nvSpPr>
        <dsp:cNvPr id="0" name=""/>
        <dsp:cNvSpPr/>
      </dsp:nvSpPr>
      <dsp:spPr>
        <a:xfrm rot="5466510">
          <a:off x="2014901" y="1127825"/>
          <a:ext cx="1865327" cy="170217"/>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14677BE-45D9-469D-9D76-5B66CB6AB08E}">
      <dsp:nvSpPr>
        <dsp:cNvPr id="0" name=""/>
        <dsp:cNvSpPr/>
      </dsp:nvSpPr>
      <dsp:spPr>
        <a:xfrm>
          <a:off x="1341731" y="0"/>
          <a:ext cx="4376334" cy="113478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L" sz="1200" b="1" kern="1200" dirty="0"/>
            <a:t>“TÍTULO I</a:t>
          </a:r>
        </a:p>
        <a:p>
          <a:pPr marL="0" lvl="0" indent="0" algn="ctr" defTabSz="533400">
            <a:lnSpc>
              <a:spcPct val="90000"/>
            </a:lnSpc>
            <a:spcBef>
              <a:spcPct val="0"/>
            </a:spcBef>
            <a:spcAft>
              <a:spcPct val="35000"/>
            </a:spcAft>
            <a:buNone/>
          </a:pPr>
          <a:r>
            <a:rPr lang="es-MX" sz="1200" b="1" kern="1200" dirty="0"/>
            <a:t>DEL EQUIPO DE ATENCIÓN DE SALUD Y </a:t>
          </a:r>
          <a:r>
            <a:rPr lang="es-CL" sz="1200" b="1" kern="1200" dirty="0"/>
            <a:t>SUS INTEGRANTES”.</a:t>
          </a:r>
        </a:p>
      </dsp:txBody>
      <dsp:txXfrm>
        <a:off x="1374968" y="33237"/>
        <a:ext cx="4309860" cy="1068310"/>
      </dsp:txXfrm>
    </dsp:sp>
    <dsp:sp modelId="{EDD0DB49-C8FC-4504-A2E1-461EEAF960E0}">
      <dsp:nvSpPr>
        <dsp:cNvPr id="0" name=""/>
        <dsp:cNvSpPr/>
      </dsp:nvSpPr>
      <dsp:spPr>
        <a:xfrm rot="5389981">
          <a:off x="2001770" y="3001867"/>
          <a:ext cx="1860928" cy="170217"/>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B4D0A3-ECB6-4762-A933-74ABF3991BE2}">
      <dsp:nvSpPr>
        <dsp:cNvPr id="0" name=""/>
        <dsp:cNvSpPr/>
      </dsp:nvSpPr>
      <dsp:spPr>
        <a:xfrm>
          <a:off x="1259298" y="1426675"/>
          <a:ext cx="4469027" cy="202868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MX" sz="1200" kern="1200" dirty="0"/>
            <a:t>Artículo 112º.- El equipo de atención de salud está conformado por </a:t>
          </a:r>
          <a:r>
            <a:rPr lang="es-CL" sz="1200" kern="1200" dirty="0"/>
            <a:t>personas naturales que ejercen </a:t>
          </a:r>
          <a:r>
            <a:rPr lang="es-MX" sz="1200" kern="1200" dirty="0"/>
            <a:t>profesiones de la salud, sean </a:t>
          </a:r>
          <a:r>
            <a:rPr lang="es-CL" sz="1200" b="1" kern="1200" dirty="0"/>
            <a:t>profesionales, técnicos o auxiliares</a:t>
          </a:r>
          <a:r>
            <a:rPr lang="es-CL" sz="1200" kern="1200" dirty="0"/>
            <a:t>, legalmente habilitadas para otorgar </a:t>
          </a:r>
          <a:r>
            <a:rPr lang="es-MX" sz="1200" kern="1200" dirty="0"/>
            <a:t>acciones de salud propias del ámbito de su </a:t>
          </a:r>
          <a:r>
            <a:rPr lang="es-CL" sz="1200" kern="1200" dirty="0"/>
            <a:t>competencia específica para los </a:t>
          </a:r>
          <a:r>
            <a:rPr lang="es-MX" sz="1200" kern="1200" dirty="0"/>
            <a:t>habitantes de la República, con el objeto de dar una respuesta integral a las necesidades de la salud de las personas, familias y comunidades, con un </a:t>
          </a:r>
          <a:r>
            <a:rPr lang="es-MX" sz="1200" b="1" kern="1200" dirty="0"/>
            <a:t>enfoque </a:t>
          </a:r>
          <a:r>
            <a:rPr lang="es-CL" sz="1200" b="1" kern="1200" dirty="0"/>
            <a:t>biopsicosocial, de derechos humanos, territorial, intersectorial, interdisciplinario, intercultural y de </a:t>
          </a:r>
          <a:r>
            <a:rPr lang="es-MX" sz="1200" b="1" kern="1200" dirty="0"/>
            <a:t>género, velando por el eficiente uso de los recursos y la calidad y seguridad de </a:t>
          </a:r>
          <a:r>
            <a:rPr lang="es-CL" sz="1200" b="1" kern="1200" dirty="0"/>
            <a:t>la atención.</a:t>
          </a:r>
          <a:r>
            <a:rPr lang="es-MX" sz="1200" kern="1200" dirty="0"/>
            <a:t> </a:t>
          </a:r>
          <a:endParaRPr lang="es-CL" sz="1200" kern="1200" dirty="0"/>
        </a:p>
      </dsp:txBody>
      <dsp:txXfrm>
        <a:off x="1318716" y="1486093"/>
        <a:ext cx="4350191" cy="1909852"/>
      </dsp:txXfrm>
    </dsp:sp>
    <dsp:sp modelId="{77041C99-1CD3-439E-92CC-44559F8574A9}">
      <dsp:nvSpPr>
        <dsp:cNvPr id="0" name=""/>
        <dsp:cNvSpPr/>
      </dsp:nvSpPr>
      <dsp:spPr>
        <a:xfrm rot="21599212">
          <a:off x="2949328" y="3931810"/>
          <a:ext cx="4514004" cy="170217"/>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2B33D7-4A33-42DE-8D98-DD567E37B696}">
      <dsp:nvSpPr>
        <dsp:cNvPr id="0" name=""/>
        <dsp:cNvSpPr/>
      </dsp:nvSpPr>
      <dsp:spPr>
        <a:xfrm>
          <a:off x="1314515" y="3740094"/>
          <a:ext cx="4383824" cy="113478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MX" sz="1200" b="0" i="0" kern="1200" dirty="0"/>
            <a:t>Se entenderá que los miembros del </a:t>
          </a:r>
          <a:r>
            <a:rPr lang="es-MX" sz="1200" b="1" i="0" kern="1200" dirty="0"/>
            <a:t>equipo de atención de salud</a:t>
          </a:r>
          <a:r>
            <a:rPr lang="es-MX" sz="1200" b="0" i="0" kern="1200" dirty="0"/>
            <a:t> también forman parte de los </a:t>
          </a:r>
          <a:r>
            <a:rPr lang="es-MX" sz="1200" b="1" i="0" kern="1200" dirty="0"/>
            <a:t>equipos de salud</a:t>
          </a:r>
          <a:r>
            <a:rPr lang="es-MX" sz="1200" b="0" i="0" kern="1200" dirty="0"/>
            <a:t>, de conformidad a la ley </a:t>
          </a:r>
          <a:r>
            <a:rPr lang="es-MX" sz="1200" b="0" i="0" kern="1200" dirty="0" err="1"/>
            <a:t>Nº</a:t>
          </a:r>
          <a:r>
            <a:rPr lang="es-MX" sz="1200" b="0" i="0" kern="1200" dirty="0"/>
            <a:t> 20.584 que regula los derechos y deberes que tienen las personas en relación con acciones vinculadas a su atención en salud.</a:t>
          </a:r>
          <a:endParaRPr lang="es-CL" sz="1200" kern="1200" dirty="0"/>
        </a:p>
      </dsp:txBody>
      <dsp:txXfrm>
        <a:off x="1347752" y="3773331"/>
        <a:ext cx="4317350" cy="1068310"/>
      </dsp:txXfrm>
    </dsp:sp>
    <dsp:sp modelId="{C76C3609-B634-423D-A203-371757EC4E78}">
      <dsp:nvSpPr>
        <dsp:cNvPr id="0" name=""/>
        <dsp:cNvSpPr/>
      </dsp:nvSpPr>
      <dsp:spPr>
        <a:xfrm rot="16200000">
          <a:off x="6762551" y="3222053"/>
          <a:ext cx="1412275" cy="170217"/>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5D144E6-07B7-4567-8C5D-53929F3B61BE}">
      <dsp:nvSpPr>
        <dsp:cNvPr id="0" name=""/>
        <dsp:cNvSpPr/>
      </dsp:nvSpPr>
      <dsp:spPr>
        <a:xfrm>
          <a:off x="6400591" y="3739060"/>
          <a:ext cx="3264775" cy="113478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MX" sz="1200" b="0" i="0" kern="1200" dirty="0"/>
            <a:t>Corresponderá a la Superintendencia de Salud llevar un </a:t>
          </a:r>
          <a:r>
            <a:rPr lang="es-MX" sz="1200" b="1" i="0" kern="1200" dirty="0"/>
            <a:t>registro actualizado </a:t>
          </a:r>
          <a:r>
            <a:rPr lang="es-MX" sz="1200" b="0" i="0" kern="1200" dirty="0"/>
            <a:t>de las personas legalmente habilitadas para otorgar acciones de salud.</a:t>
          </a:r>
          <a:endParaRPr lang="es-CL" sz="1200" kern="1200" dirty="0"/>
        </a:p>
      </dsp:txBody>
      <dsp:txXfrm>
        <a:off x="6433828" y="3772297"/>
        <a:ext cx="3198301" cy="1068310"/>
      </dsp:txXfrm>
    </dsp:sp>
    <dsp:sp modelId="{6281EDED-BB46-4754-94EF-5F6298E653A0}">
      <dsp:nvSpPr>
        <dsp:cNvPr id="0" name=""/>
        <dsp:cNvSpPr/>
      </dsp:nvSpPr>
      <dsp:spPr>
        <a:xfrm rot="16200000">
          <a:off x="6538517" y="1579538"/>
          <a:ext cx="1860344" cy="170217"/>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EC790B-071F-4B41-A89A-8817D6A87A6B}">
      <dsp:nvSpPr>
        <dsp:cNvPr id="0" name=""/>
        <dsp:cNvSpPr/>
      </dsp:nvSpPr>
      <dsp:spPr>
        <a:xfrm>
          <a:off x="6400591" y="2320579"/>
          <a:ext cx="3264775" cy="113478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MX" sz="1200" b="0" i="0" kern="1200" dirty="0"/>
            <a:t>Quienes ejerzan profesiones de la salud podrán actuar en forma </a:t>
          </a:r>
          <a:r>
            <a:rPr lang="es-MX" sz="1200" b="1" i="0" kern="1200" dirty="0"/>
            <a:t>individual o como parte de un equipo</a:t>
          </a:r>
          <a:r>
            <a:rPr lang="es-MX" sz="1200" b="0" i="0" kern="1200" dirty="0"/>
            <a:t> de atención de salud.</a:t>
          </a:r>
          <a:endParaRPr lang="es-CL" sz="1200" kern="1200" dirty="0"/>
        </a:p>
      </dsp:txBody>
      <dsp:txXfrm>
        <a:off x="6433828" y="2353816"/>
        <a:ext cx="3198301" cy="1068310"/>
      </dsp:txXfrm>
    </dsp:sp>
    <dsp:sp modelId="{5AD54734-B5DC-451A-959D-C332E6303501}">
      <dsp:nvSpPr>
        <dsp:cNvPr id="0" name=""/>
        <dsp:cNvSpPr/>
      </dsp:nvSpPr>
      <dsp:spPr>
        <a:xfrm>
          <a:off x="6352457" y="1034"/>
          <a:ext cx="3361042" cy="203584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MX" sz="1200" b="0" i="0" kern="1200" dirty="0"/>
            <a:t>Los profesionales, técnicos y auxiliares señalados en este Libro podrán, además, dependiendo de sus competencias, ejercer en los </a:t>
          </a:r>
          <a:r>
            <a:rPr lang="es-MX" sz="1200" b="1" i="0" kern="1200" dirty="0"/>
            <a:t>ámbitos de gestión, docencia, investigación, funciones gerenciales, administrativas, ejecutivas u otras relacionadas con el ejercicio de su profesión o ámbito de competencia</a:t>
          </a:r>
          <a:r>
            <a:rPr lang="es-MX" sz="1200" b="0" i="0" kern="1200" dirty="0"/>
            <a:t>.”.</a:t>
          </a:r>
          <a:endParaRPr lang="es-CL" sz="1200" kern="1200" dirty="0"/>
        </a:p>
      </dsp:txBody>
      <dsp:txXfrm>
        <a:off x="6412085" y="60662"/>
        <a:ext cx="3241786" cy="191659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9073CC-202D-4060-84A3-4B1BA246CB7E}">
      <dsp:nvSpPr>
        <dsp:cNvPr id="0" name=""/>
        <dsp:cNvSpPr/>
      </dsp:nvSpPr>
      <dsp:spPr>
        <a:xfrm rot="5350151">
          <a:off x="511627" y="1630283"/>
          <a:ext cx="2679761" cy="232421"/>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14677BE-45D9-469D-9D76-5B66CB6AB08E}">
      <dsp:nvSpPr>
        <dsp:cNvPr id="0" name=""/>
        <dsp:cNvSpPr/>
      </dsp:nvSpPr>
      <dsp:spPr>
        <a:xfrm>
          <a:off x="348842" y="28061"/>
          <a:ext cx="4492740" cy="1549479"/>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b="0" i="0" kern="1200" dirty="0"/>
            <a:t>Artículo 113º.- Las y los profesionales de la salud son aquellas personas que poseen el </a:t>
          </a:r>
          <a:r>
            <a:rPr lang="es-MX" sz="1400" b="1" i="0" kern="1200" dirty="0"/>
            <a:t>título profesional respectivo otorgado por la Universidad de Chile u otra universidad del Estado o reconocida por este</a:t>
          </a:r>
          <a:r>
            <a:rPr lang="es-MX" sz="1400" b="0" i="0" kern="1200" dirty="0"/>
            <a:t>, que estén habilitadas legalmente para el ejercicio de sus profesiones; y que desempeñan actividades propias de las profesiones señaladas en el Título II siguiente.</a:t>
          </a:r>
          <a:endParaRPr lang="es-CL" sz="1400" kern="1200" dirty="0"/>
        </a:p>
      </dsp:txBody>
      <dsp:txXfrm>
        <a:off x="394225" y="73444"/>
        <a:ext cx="4401974" cy="1458713"/>
      </dsp:txXfrm>
    </dsp:sp>
    <dsp:sp modelId="{371E1143-D8D1-4785-AFAF-CCE8BE5686F5}">
      <dsp:nvSpPr>
        <dsp:cNvPr id="0" name=""/>
        <dsp:cNvSpPr/>
      </dsp:nvSpPr>
      <dsp:spPr>
        <a:xfrm rot="21520970">
          <a:off x="1870206" y="2906592"/>
          <a:ext cx="5518895" cy="232421"/>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0B4D0A3-ECB6-4762-A933-74ABF3991BE2}">
      <dsp:nvSpPr>
        <dsp:cNvPr id="0" name=""/>
        <dsp:cNvSpPr/>
      </dsp:nvSpPr>
      <dsp:spPr>
        <a:xfrm>
          <a:off x="417226" y="2104828"/>
          <a:ext cx="4448425" cy="2770050"/>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b="0" i="0" kern="1200"/>
            <a:t>Las y los técnicos de la salud son aquellas personas que poseen el título de técnico de nivel superior o medio, otorgado por una institución de educación superior o medio, según corresponda, del Estado o reconocida por éste, y que se encuentran legalmente habilitadas para desempeñar las actividades propias de las y los técnicos mencionados en este libro.</a:t>
          </a:r>
          <a:endParaRPr lang="es-CL" sz="1400" kern="1200" dirty="0"/>
        </a:p>
      </dsp:txBody>
      <dsp:txXfrm>
        <a:off x="498358" y="2185960"/>
        <a:ext cx="4286161" cy="2607786"/>
      </dsp:txXfrm>
    </dsp:sp>
    <dsp:sp modelId="{7F8B0E4D-483D-4AB3-8E70-A3C37D61F1EE}">
      <dsp:nvSpPr>
        <dsp:cNvPr id="0" name=""/>
        <dsp:cNvSpPr/>
      </dsp:nvSpPr>
      <dsp:spPr>
        <a:xfrm rot="16156306">
          <a:off x="6062193" y="1517032"/>
          <a:ext cx="2619071" cy="232421"/>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2E6B955-F736-4F4D-8DC6-0320EBF2ACF6}">
      <dsp:nvSpPr>
        <dsp:cNvPr id="0" name=""/>
        <dsp:cNvSpPr/>
      </dsp:nvSpPr>
      <dsp:spPr>
        <a:xfrm>
          <a:off x="5677824" y="1820111"/>
          <a:ext cx="4962103" cy="3053915"/>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b="0" i="0" kern="1200" dirty="0"/>
            <a:t>Respecto de las y los técnicos de salud de nivel medio, el Ministerio de Salud dictará un decreto supremo suscrito además, por el Ministerio de Educación, en el cual establecerá las especialidades que podrán ser consideradas como técnicos de la salud de dicho nivel. Para ello, deberá tener en consideración las especialidades incluidas en las bases curriculares vigentes. Las y los técnicos de salud de nivel medio deberán contar con un título de alguna de dichas especialidades, de acuerdo con la normativa vigente. El Ministerio de Educación deberá coordinarse con el Ministerio de Salud en los procesos de actualización y modificación de las bases curriculares y programas de estudio de dichas especialidades.</a:t>
          </a:r>
          <a:endParaRPr lang="es-CL" sz="1400" kern="1200" dirty="0"/>
        </a:p>
      </dsp:txBody>
      <dsp:txXfrm>
        <a:off x="5767270" y="1909557"/>
        <a:ext cx="4783211" cy="2875023"/>
      </dsp:txXfrm>
    </dsp:sp>
    <dsp:sp modelId="{9C2D05F8-0C12-452F-911F-A6DFDD9293C2}">
      <dsp:nvSpPr>
        <dsp:cNvPr id="0" name=""/>
        <dsp:cNvSpPr/>
      </dsp:nvSpPr>
      <dsp:spPr>
        <a:xfrm>
          <a:off x="5635304" y="0"/>
          <a:ext cx="4980568" cy="1431889"/>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MX" sz="1400" b="0" i="0" kern="1200"/>
            <a:t>Las y los auxiliares de la salud son aquellas personas que cuentan con autorización de la Secretaría Regional Ministerial de Salud respectiva, según los requisitos, formas y condiciones exigidas en los reglamentos dictados por el Ministerio de Salud. La autorización será permanente a menos que, por resolución fundada, dicha autoridad disponga su cancelación.</a:t>
          </a:r>
          <a:endParaRPr lang="es-CL" sz="1400" kern="1200" dirty="0"/>
        </a:p>
      </dsp:txBody>
      <dsp:txXfrm>
        <a:off x="5677243" y="41939"/>
        <a:ext cx="4896690" cy="134801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23921-3EC5-4EF1-913F-9784C9329F5D}">
      <dsp:nvSpPr>
        <dsp:cNvPr id="0" name=""/>
        <dsp:cNvSpPr/>
      </dsp:nvSpPr>
      <dsp:spPr>
        <a:xfrm>
          <a:off x="0" y="35485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EFF6E9-D472-4E6A-8E13-F7B16B278C72}">
      <dsp:nvSpPr>
        <dsp:cNvPr id="0" name=""/>
        <dsp:cNvSpPr/>
      </dsp:nvSpPr>
      <dsp:spPr>
        <a:xfrm>
          <a:off x="406400" y="74416"/>
          <a:ext cx="5689600"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BIOQUÍMICA</a:t>
          </a:r>
        </a:p>
      </dsp:txBody>
      <dsp:txXfrm>
        <a:off x="433780" y="101796"/>
        <a:ext cx="5634840" cy="506120"/>
      </dsp:txXfrm>
    </dsp:sp>
    <dsp:sp modelId="{1DE297D5-5B46-4150-A37B-4FE63CD9A2B5}">
      <dsp:nvSpPr>
        <dsp:cNvPr id="0" name=""/>
        <dsp:cNvSpPr/>
      </dsp:nvSpPr>
      <dsp:spPr>
        <a:xfrm>
          <a:off x="0" y="121669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DB0CD6-1136-42A9-B8F2-28FDFA315584}">
      <dsp:nvSpPr>
        <dsp:cNvPr id="0" name=""/>
        <dsp:cNvSpPr/>
      </dsp:nvSpPr>
      <dsp:spPr>
        <a:xfrm>
          <a:off x="406400" y="936256"/>
          <a:ext cx="5689600" cy="56088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ENFERMERÍA</a:t>
          </a:r>
        </a:p>
      </dsp:txBody>
      <dsp:txXfrm>
        <a:off x="433780" y="963636"/>
        <a:ext cx="5634840" cy="506120"/>
      </dsp:txXfrm>
    </dsp:sp>
    <dsp:sp modelId="{B8167F43-6A71-4833-80E8-4CDF82948D4A}">
      <dsp:nvSpPr>
        <dsp:cNvPr id="0" name=""/>
        <dsp:cNvSpPr/>
      </dsp:nvSpPr>
      <dsp:spPr>
        <a:xfrm>
          <a:off x="0" y="207853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F00BE3-14F3-499A-B185-3A3638584500}">
      <dsp:nvSpPr>
        <dsp:cNvPr id="0" name=""/>
        <dsp:cNvSpPr/>
      </dsp:nvSpPr>
      <dsp:spPr>
        <a:xfrm>
          <a:off x="406400" y="1798096"/>
          <a:ext cx="5689600"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FONOAUDIOLOGÍA</a:t>
          </a:r>
        </a:p>
      </dsp:txBody>
      <dsp:txXfrm>
        <a:off x="433780" y="1825476"/>
        <a:ext cx="5634840" cy="506120"/>
      </dsp:txXfrm>
    </dsp:sp>
    <dsp:sp modelId="{085E40D1-76D7-423C-9930-75FF755922A5}">
      <dsp:nvSpPr>
        <dsp:cNvPr id="0" name=""/>
        <dsp:cNvSpPr/>
      </dsp:nvSpPr>
      <dsp:spPr>
        <a:xfrm>
          <a:off x="0" y="294037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105291-DD7D-44C5-9229-49997736D2A6}">
      <dsp:nvSpPr>
        <dsp:cNvPr id="0" name=""/>
        <dsp:cNvSpPr/>
      </dsp:nvSpPr>
      <dsp:spPr>
        <a:xfrm>
          <a:off x="406400" y="2659936"/>
          <a:ext cx="5689600"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KINESIOLOGÍA</a:t>
          </a:r>
        </a:p>
      </dsp:txBody>
      <dsp:txXfrm>
        <a:off x="433780" y="2687316"/>
        <a:ext cx="5634840" cy="506120"/>
      </dsp:txXfrm>
    </dsp:sp>
    <dsp:sp modelId="{FB40D34F-31A1-476C-B176-B380785011CC}">
      <dsp:nvSpPr>
        <dsp:cNvPr id="0" name=""/>
        <dsp:cNvSpPr/>
      </dsp:nvSpPr>
      <dsp:spPr>
        <a:xfrm>
          <a:off x="0" y="380221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8974C9-9423-4F7F-928A-1E110C7979F5}">
      <dsp:nvSpPr>
        <dsp:cNvPr id="0" name=""/>
        <dsp:cNvSpPr/>
      </dsp:nvSpPr>
      <dsp:spPr>
        <a:xfrm>
          <a:off x="406400" y="3521776"/>
          <a:ext cx="5689600" cy="56088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MATRONERÍA</a:t>
          </a:r>
        </a:p>
      </dsp:txBody>
      <dsp:txXfrm>
        <a:off x="433780" y="3549156"/>
        <a:ext cx="5634840" cy="5061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23921-3EC5-4EF1-913F-9784C9329F5D}">
      <dsp:nvSpPr>
        <dsp:cNvPr id="0" name=""/>
        <dsp:cNvSpPr/>
      </dsp:nvSpPr>
      <dsp:spPr>
        <a:xfrm>
          <a:off x="0" y="35485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EFF6E9-D472-4E6A-8E13-F7B16B278C72}">
      <dsp:nvSpPr>
        <dsp:cNvPr id="0" name=""/>
        <dsp:cNvSpPr/>
      </dsp:nvSpPr>
      <dsp:spPr>
        <a:xfrm>
          <a:off x="406400" y="74416"/>
          <a:ext cx="5689600" cy="56088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MEDICINA</a:t>
          </a:r>
        </a:p>
      </dsp:txBody>
      <dsp:txXfrm>
        <a:off x="433780" y="101796"/>
        <a:ext cx="5634840" cy="506120"/>
      </dsp:txXfrm>
    </dsp:sp>
    <dsp:sp modelId="{1DE297D5-5B46-4150-A37B-4FE63CD9A2B5}">
      <dsp:nvSpPr>
        <dsp:cNvPr id="0" name=""/>
        <dsp:cNvSpPr/>
      </dsp:nvSpPr>
      <dsp:spPr>
        <a:xfrm>
          <a:off x="0" y="121669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DB0CD6-1136-42A9-B8F2-28FDFA315584}">
      <dsp:nvSpPr>
        <dsp:cNvPr id="0" name=""/>
        <dsp:cNvSpPr/>
      </dsp:nvSpPr>
      <dsp:spPr>
        <a:xfrm>
          <a:off x="406400" y="936256"/>
          <a:ext cx="5689600" cy="560880"/>
        </a:xfrm>
        <a:prstGeom prst="roundRect">
          <a:avLst/>
        </a:prstGeom>
        <a:solidFill>
          <a:srgbClr val="4472C4">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solidFill>
                <a:srgbClr val="FFFFFF"/>
              </a:solidFill>
              <a:latin typeface="Arial"/>
              <a:ea typeface="+mn-ea"/>
              <a:cs typeface="+mn-cs"/>
            </a:rPr>
            <a:t>MEDICINA VETERINARIA</a:t>
          </a:r>
        </a:p>
      </dsp:txBody>
      <dsp:txXfrm>
        <a:off x="433780" y="963636"/>
        <a:ext cx="5634840" cy="506120"/>
      </dsp:txXfrm>
    </dsp:sp>
    <dsp:sp modelId="{B8167F43-6A71-4833-80E8-4CDF82948D4A}">
      <dsp:nvSpPr>
        <dsp:cNvPr id="0" name=""/>
        <dsp:cNvSpPr/>
      </dsp:nvSpPr>
      <dsp:spPr>
        <a:xfrm>
          <a:off x="0" y="207853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F00BE3-14F3-499A-B185-3A3638584500}">
      <dsp:nvSpPr>
        <dsp:cNvPr id="0" name=""/>
        <dsp:cNvSpPr/>
      </dsp:nvSpPr>
      <dsp:spPr>
        <a:xfrm>
          <a:off x="406400" y="1798096"/>
          <a:ext cx="5689600" cy="560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NUTRICIÓN</a:t>
          </a:r>
        </a:p>
      </dsp:txBody>
      <dsp:txXfrm>
        <a:off x="433780" y="1825476"/>
        <a:ext cx="5634840" cy="506120"/>
      </dsp:txXfrm>
    </dsp:sp>
    <dsp:sp modelId="{085E40D1-76D7-423C-9930-75FF755922A5}">
      <dsp:nvSpPr>
        <dsp:cNvPr id="0" name=""/>
        <dsp:cNvSpPr/>
      </dsp:nvSpPr>
      <dsp:spPr>
        <a:xfrm>
          <a:off x="0" y="294037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105291-DD7D-44C5-9229-49997736D2A6}">
      <dsp:nvSpPr>
        <dsp:cNvPr id="0" name=""/>
        <dsp:cNvSpPr/>
      </dsp:nvSpPr>
      <dsp:spPr>
        <a:xfrm>
          <a:off x="406400" y="2659936"/>
          <a:ext cx="5689600" cy="56088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ODONTOLOGÍA</a:t>
          </a:r>
        </a:p>
      </dsp:txBody>
      <dsp:txXfrm>
        <a:off x="433780" y="2687316"/>
        <a:ext cx="5634840" cy="506120"/>
      </dsp:txXfrm>
    </dsp:sp>
    <dsp:sp modelId="{FB40D34F-31A1-476C-B176-B380785011CC}">
      <dsp:nvSpPr>
        <dsp:cNvPr id="0" name=""/>
        <dsp:cNvSpPr/>
      </dsp:nvSpPr>
      <dsp:spPr>
        <a:xfrm>
          <a:off x="0" y="3802216"/>
          <a:ext cx="8128000" cy="478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8974C9-9423-4F7F-928A-1E110C7979F5}">
      <dsp:nvSpPr>
        <dsp:cNvPr id="0" name=""/>
        <dsp:cNvSpPr/>
      </dsp:nvSpPr>
      <dsp:spPr>
        <a:xfrm>
          <a:off x="406400" y="3521776"/>
          <a:ext cx="5689600" cy="56088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1900" kern="1200" dirty="0"/>
            <a:t>PSICOLOGÍA</a:t>
          </a:r>
        </a:p>
      </dsp:txBody>
      <dsp:txXfrm>
        <a:off x="433780" y="3549156"/>
        <a:ext cx="5634840" cy="50612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23921-3EC5-4EF1-913F-9784C9329F5D}">
      <dsp:nvSpPr>
        <dsp:cNvPr id="0" name=""/>
        <dsp:cNvSpPr/>
      </dsp:nvSpPr>
      <dsp:spPr>
        <a:xfrm>
          <a:off x="0" y="340498"/>
          <a:ext cx="8128000" cy="579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EEFF6E9-D472-4E6A-8E13-F7B16B278C72}">
      <dsp:nvSpPr>
        <dsp:cNvPr id="0" name=""/>
        <dsp:cNvSpPr/>
      </dsp:nvSpPr>
      <dsp:spPr>
        <a:xfrm>
          <a:off x="406400" y="1018"/>
          <a:ext cx="5689600" cy="678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89000">
            <a:lnSpc>
              <a:spcPct val="90000"/>
            </a:lnSpc>
            <a:spcBef>
              <a:spcPct val="0"/>
            </a:spcBef>
            <a:spcAft>
              <a:spcPct val="35000"/>
            </a:spcAft>
            <a:buNone/>
          </a:pPr>
          <a:r>
            <a:rPr lang="es-CL" sz="2000" kern="1200" dirty="0"/>
            <a:t>QUÍMICA Y FARMACIA</a:t>
          </a:r>
        </a:p>
      </dsp:txBody>
      <dsp:txXfrm>
        <a:off x="439544" y="34162"/>
        <a:ext cx="5623312" cy="612672"/>
      </dsp:txXfrm>
    </dsp:sp>
    <dsp:sp modelId="{1DE297D5-5B46-4150-A37B-4FE63CD9A2B5}">
      <dsp:nvSpPr>
        <dsp:cNvPr id="0" name=""/>
        <dsp:cNvSpPr/>
      </dsp:nvSpPr>
      <dsp:spPr>
        <a:xfrm>
          <a:off x="0" y="1383778"/>
          <a:ext cx="8128000" cy="851287"/>
        </a:xfrm>
        <a:prstGeom prst="rect">
          <a:avLst/>
        </a:prstGeom>
        <a:solidFill>
          <a:srgbClr val="C0000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0823" tIns="479044" rIns="630823" bIns="128016" numCol="1" spcCol="1270" anchor="t" anchorCtr="0">
          <a:noAutofit/>
        </a:bodyPr>
        <a:lstStyle/>
        <a:p>
          <a:pPr marL="171450" lvl="1" indent="-171450" algn="l" defTabSz="800100">
            <a:lnSpc>
              <a:spcPct val="90000"/>
            </a:lnSpc>
            <a:spcBef>
              <a:spcPct val="0"/>
            </a:spcBef>
            <a:spcAft>
              <a:spcPct val="15000"/>
            </a:spcAft>
            <a:buChar char="•"/>
          </a:pPr>
          <a:r>
            <a:rPr lang="es-CL" sz="1800" kern="1200" dirty="0">
              <a:solidFill>
                <a:srgbClr val="FFFFFF"/>
              </a:solidFill>
              <a:latin typeface="Arial"/>
              <a:ea typeface="+mn-ea"/>
              <a:cs typeface="+mn-cs"/>
            </a:rPr>
            <a:t>TECNOLOGÍA MÉDICA MENCIÓN OFTALMOLOGÍA</a:t>
          </a:r>
          <a:endParaRPr lang="es-CL" sz="1800" kern="1200" dirty="0"/>
        </a:p>
      </dsp:txBody>
      <dsp:txXfrm>
        <a:off x="0" y="1383778"/>
        <a:ext cx="8128000" cy="851287"/>
      </dsp:txXfrm>
    </dsp:sp>
    <dsp:sp modelId="{A2DB0CD6-1136-42A9-B8F2-28FDFA315584}">
      <dsp:nvSpPr>
        <dsp:cNvPr id="0" name=""/>
        <dsp:cNvSpPr/>
      </dsp:nvSpPr>
      <dsp:spPr>
        <a:xfrm>
          <a:off x="406400" y="1044298"/>
          <a:ext cx="6866778" cy="678960"/>
        </a:xfrm>
        <a:prstGeom prst="roundRect">
          <a:avLst/>
        </a:prstGeom>
        <a:solidFill>
          <a:srgbClr val="4472C4">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44550">
            <a:lnSpc>
              <a:spcPct val="90000"/>
            </a:lnSpc>
            <a:spcBef>
              <a:spcPct val="0"/>
            </a:spcBef>
            <a:spcAft>
              <a:spcPct val="35000"/>
            </a:spcAft>
            <a:buNone/>
          </a:pPr>
          <a:r>
            <a:rPr lang="es-CL" sz="2000" kern="1200" dirty="0">
              <a:solidFill>
                <a:srgbClr val="FFFFFF"/>
              </a:solidFill>
              <a:latin typeface="Arial"/>
              <a:ea typeface="+mn-ea"/>
              <a:cs typeface="+mn-cs"/>
            </a:rPr>
            <a:t>TECNOLOGÍA MÉDICA OTRAS MENCIONES </a:t>
          </a:r>
        </a:p>
      </dsp:txBody>
      <dsp:txXfrm>
        <a:off x="439544" y="1077442"/>
        <a:ext cx="6800490" cy="612672"/>
      </dsp:txXfrm>
    </dsp:sp>
    <dsp:sp modelId="{085E40D1-76D7-423C-9930-75FF755922A5}">
      <dsp:nvSpPr>
        <dsp:cNvPr id="0" name=""/>
        <dsp:cNvSpPr/>
      </dsp:nvSpPr>
      <dsp:spPr>
        <a:xfrm>
          <a:off x="0" y="2698746"/>
          <a:ext cx="8128000" cy="579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105291-DD7D-44C5-9229-49997736D2A6}">
      <dsp:nvSpPr>
        <dsp:cNvPr id="0" name=""/>
        <dsp:cNvSpPr/>
      </dsp:nvSpPr>
      <dsp:spPr>
        <a:xfrm>
          <a:off x="406400" y="2359266"/>
          <a:ext cx="5689600" cy="6789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89000">
            <a:lnSpc>
              <a:spcPct val="90000"/>
            </a:lnSpc>
            <a:spcBef>
              <a:spcPct val="0"/>
            </a:spcBef>
            <a:spcAft>
              <a:spcPct val="35000"/>
            </a:spcAft>
            <a:buNone/>
          </a:pPr>
          <a:r>
            <a:rPr lang="es-CL" sz="2000" kern="1200" dirty="0"/>
            <a:t>TERAPIA OCUPACIONAL</a:t>
          </a:r>
        </a:p>
      </dsp:txBody>
      <dsp:txXfrm>
        <a:off x="439544" y="2392410"/>
        <a:ext cx="5623312"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s-CL"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fontScale="55000" lnSpcReduction="20000"/>
          </a:bodyPr>
          <a:lstStyle/>
          <a:p>
            <a:r>
              <a:rPr lang="es-ES" sz="1200" kern="1200" dirty="0">
                <a:solidFill>
                  <a:schemeClr val="tx1"/>
                </a:solidFill>
                <a:effectLst/>
                <a:latin typeface="+mn-lt"/>
                <a:ea typeface="+mn-ea"/>
                <a:cs typeface="+mn-cs"/>
              </a:rPr>
              <a:t>En Chile, tenemos un modelo concentrado territorialmente y de ley superior, siendo el Ministerio de Salud quien ejerce el rol rector en salud, estableciendo las políticas, planes y normas de acuerdo con las directrices del gobierno. La tarea fundamental del Ministerio de Salud es la supervisión de las actividades de las organizaciones desde la perspectiva del financiamiento, regulación y provisión de servicios de salud. Su función como entidad rectora del sector salud, consiste en la formulación, control y evaluación de planes y programas, definición de objetivos sanitarios, coordinación sectorial e intersectorial para el logro de los objetivos sanitarios, coordinación y cooperación internacional y dirección y orientación de todas las actividades del Estado relativas a la provisión de acciones de salud, de acuerdo con las políticas fijadas.</a:t>
            </a:r>
            <a:endParaRPr lang="es-CL" sz="1200" kern="1200" dirty="0">
              <a:solidFill>
                <a:schemeClr val="tx1"/>
              </a:solidFill>
              <a:effectLst/>
              <a:latin typeface="+mn-lt"/>
              <a:ea typeface="+mn-ea"/>
              <a:cs typeface="+mn-cs"/>
            </a:endParaRPr>
          </a:p>
          <a:p>
            <a:r>
              <a:rPr lang="es-CL" sz="1200" kern="1200" dirty="0">
                <a:solidFill>
                  <a:schemeClr val="tx1"/>
                </a:solidFill>
                <a:effectLst/>
                <a:latin typeface="+mn-lt"/>
                <a:ea typeface="+mn-ea"/>
                <a:cs typeface="+mn-cs"/>
              </a:rPr>
              <a:t> </a:t>
            </a:r>
          </a:p>
          <a:p>
            <a:r>
              <a:rPr lang="es-ES" sz="1200" kern="1200" dirty="0">
                <a:solidFill>
                  <a:schemeClr val="tx1"/>
                </a:solidFill>
                <a:effectLst/>
                <a:latin typeface="+mn-lt"/>
                <a:ea typeface="+mn-ea"/>
                <a:cs typeface="+mn-cs"/>
              </a:rPr>
              <a:t>Los profesionales de la salud en Chile son regulados por la Ley Orgánica Constitucional de Enseñanza y la Ley General de Educación, marco jurídico que regula los procesos de formación de los profesionales del sistema de salud, y el Código Sanitario que determina las profesiones de la salud y su correspondiente ejercicio profesional.</a:t>
            </a:r>
            <a:endParaRPr lang="es-CL" sz="1200" kern="1200" dirty="0">
              <a:solidFill>
                <a:schemeClr val="tx1"/>
              </a:solidFill>
              <a:effectLst/>
              <a:latin typeface="+mn-lt"/>
              <a:ea typeface="+mn-ea"/>
              <a:cs typeface="+mn-cs"/>
            </a:endParaRPr>
          </a:p>
          <a:p>
            <a:r>
              <a:rPr lang="es-ES" sz="1200" kern="1200" dirty="0">
                <a:solidFill>
                  <a:schemeClr val="tx1"/>
                </a:solidFill>
                <a:effectLst/>
                <a:latin typeface="+mn-lt"/>
                <a:ea typeface="+mn-ea"/>
                <a:cs typeface="+mn-cs"/>
              </a:rPr>
              <a:t> </a:t>
            </a:r>
            <a:endParaRPr lang="es-CL" sz="1200" kern="1200" dirty="0">
              <a:solidFill>
                <a:schemeClr val="tx1"/>
              </a:solidFill>
              <a:effectLst/>
              <a:latin typeface="+mn-lt"/>
              <a:ea typeface="+mn-ea"/>
              <a:cs typeface="+mn-cs"/>
            </a:endParaRPr>
          </a:p>
          <a:p>
            <a:r>
              <a:rPr lang="es-CL" sz="1200" kern="1200" dirty="0">
                <a:solidFill>
                  <a:schemeClr val="tx1"/>
                </a:solidFill>
                <a:effectLst/>
                <a:latin typeface="+mn-lt"/>
                <a:ea typeface="+mn-ea"/>
                <a:cs typeface="+mn-cs"/>
              </a:rPr>
              <a:t>El primer Código Sanitario de Chile fue establecido en la Ley N°3.385, promulgada el 22 de mayo de 1918, definiendo las bases para que el Estado como institución tomara control de la salud pública del país con un enfoque centralizador y unificador. Desde finales del siglo XIX, a nivel internacional, se había venido fortaleciendo la experimentación y desarrollando la microbiología en la medicina, lo que se tradujo en grandes avances hacia el control específico de algunas enfermedades transmisibles como el paludismo, cólera y fiebre amarilla, que afectaban los flujos comerciales y migratorios entre países, incluido Chile. Este primer Código Sanitario definió una estructura administrativa para la gestión sanitaria y las normas sobre el ejercicio de las profesiones de la salud, higiene alimentaria, animal e industrial, control de infecciones, y estadísticas sanitarias. </a:t>
            </a:r>
          </a:p>
          <a:p>
            <a:r>
              <a:rPr lang="es-ES" sz="1200" kern="1200" dirty="0">
                <a:solidFill>
                  <a:schemeClr val="tx1"/>
                </a:solidFill>
                <a:effectLst/>
                <a:latin typeface="+mn-lt"/>
                <a:ea typeface="+mn-ea"/>
                <a:cs typeface="+mn-cs"/>
              </a:rPr>
              <a:t> </a:t>
            </a:r>
            <a:endParaRPr lang="es-CL" sz="1200" kern="1200" dirty="0">
              <a:solidFill>
                <a:schemeClr val="tx1"/>
              </a:solidFill>
              <a:effectLst/>
              <a:latin typeface="+mn-lt"/>
              <a:ea typeface="+mn-ea"/>
              <a:cs typeface="+mn-cs"/>
            </a:endParaRPr>
          </a:p>
          <a:p>
            <a:r>
              <a:rPr lang="es-CL" sz="1200" kern="1200" dirty="0">
                <a:solidFill>
                  <a:schemeClr val="tx1"/>
                </a:solidFill>
                <a:effectLst/>
                <a:latin typeface="+mn-lt"/>
                <a:ea typeface="+mn-ea"/>
                <a:cs typeface="+mn-cs"/>
              </a:rPr>
              <a:t>Trece años después de la promulgación del Primer Código Sanitario, mediante el Decreto con Fuerza de Ley N°226 de 29 de mayo de 1931, el Ministerio </a:t>
            </a:r>
            <a:r>
              <a:rPr lang="es-ES" sz="1200" kern="1200" dirty="0">
                <a:solidFill>
                  <a:schemeClr val="tx1"/>
                </a:solidFill>
                <a:effectLst/>
                <a:latin typeface="+mn-lt"/>
                <a:ea typeface="+mn-ea"/>
                <a:cs typeface="+mn-cs"/>
              </a:rPr>
              <a:t>de Salubridad, Previsión y Asistencia Social, que había sido creado en 1924, </a:t>
            </a:r>
            <a:r>
              <a:rPr lang="es-CL" sz="1200" kern="1200" dirty="0">
                <a:solidFill>
                  <a:schemeClr val="tx1"/>
                </a:solidFill>
                <a:effectLst/>
                <a:latin typeface="+mn-lt"/>
                <a:ea typeface="+mn-ea"/>
                <a:cs typeface="+mn-cs"/>
              </a:rPr>
              <a:t>promulga un nuevo Código Sanitario, consolidando la institucionalización del poder sanitario ejercido a través de redes que actúan con un enfoque de policía sanitaria y que incluyen a las municipalidades. </a:t>
            </a:r>
          </a:p>
          <a:p>
            <a:endParaRPr lang="es-CL" sz="1200" kern="1200" dirty="0">
              <a:solidFill>
                <a:schemeClr val="tx1"/>
              </a:solidFill>
              <a:effectLst/>
              <a:latin typeface="+mn-lt"/>
              <a:ea typeface="+mn-ea"/>
              <a:cs typeface="+mn-cs"/>
            </a:endParaRPr>
          </a:p>
          <a:p>
            <a:r>
              <a:rPr lang="es-CL" sz="1200" kern="1200" dirty="0">
                <a:solidFill>
                  <a:schemeClr val="tx1"/>
                </a:solidFill>
                <a:effectLst/>
                <a:latin typeface="+mn-lt"/>
                <a:ea typeface="+mn-ea"/>
                <a:cs typeface="+mn-cs"/>
              </a:rPr>
              <a:t>El actual Código Sanitario fue promulgado durante el gobierno del presidente Eduardo Frei Montalva, mediante el Decreto con Fuerza de Ley (DFL) N°725, del 31 de enero de 1968. En este código, el Ministerio de Salud Pública es la máxima autoridad sanitaria, pero la ejecución de las materias consideradas en este cuerpo legal corresponden al Servicio Nacional de Salud y las municipalidades. El Libro V  del DFL N°725, titulado “Del ejercicio de la medicina y profesiones afines”, establece las normas referidas a los temas relacionados con el ejercicio de las profesiones de la salud orientado a la “conservación y restablecimiento de la salud”.</a:t>
            </a:r>
          </a:p>
          <a:p>
            <a:endParaRPr lang="es-CL"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fld id="{A3394882-398F-485D-88D0-777C2404E081}" type="slidenum">
              <a:rPr lang="es-CL" smtClean="0"/>
              <a:pPr/>
              <a:t>2</a:t>
            </a:fld>
            <a:endParaRPr lang="es-CL"/>
          </a:p>
        </p:txBody>
      </p:sp>
    </p:spTree>
    <p:extLst>
      <p:ext uri="{BB962C8B-B14F-4D97-AF65-F5344CB8AC3E}">
        <p14:creationId xmlns:p14="http://schemas.microsoft.com/office/powerpoint/2010/main" val="816627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Artículo 114º J.- El ejercicio de la química y farmacia comprende las acciones de salud en el ámbito de la farmacología, participando en la optimización del tratamiento farmacológico, en la educación sanitaria en relación con el uso seguro y racional de los medicamentos, promoción de la salud y del autocuidado. Estas acciones de salud se realizan mediante servicios farmacéuticos, tales como dispensación, la atención farmacéutica, la conciliación farmacéutico y el seguimiento farmacoterapéutico; y acciones que garanticen la eficacia, tales como el aseguramiento de la calidad, seguridad en la producción, almacenamiento, distribución, fraccionamiento y uso adecuado de los medicamentos, vacunas, dispositivos médicos, cosméticos y otras sustancias biológicamente activas; todo lo anterior en beneficio de la salud humana, animal y medio ambiental. </a:t>
            </a:r>
          </a:p>
          <a:p>
            <a:r>
              <a:rPr lang="es-MX" dirty="0"/>
              <a:t>		Además, el ejercicio de la química y farmacia incluye la determinación y desarrollo de procedimientos, técnicas de laboratorios clínicos o forenses; farmacovigilancia, tecnovigilancia, </a:t>
            </a:r>
            <a:r>
              <a:rPr lang="es-MX" dirty="0" err="1"/>
              <a:t>cosmetovigilancia</a:t>
            </a:r>
            <a:r>
              <a:rPr lang="es-MX" dirty="0"/>
              <a:t> y otras formas de aseguramiento de la calidad y seguridad dentro de su ámbito de acción.</a:t>
            </a:r>
          </a:p>
          <a:p>
            <a:endParaRPr lang="es-MX" dirty="0"/>
          </a:p>
          <a:p>
            <a:r>
              <a:rPr lang="es-MX" dirty="0"/>
              <a:t>Artículo 114º K.- El ejercicio de la tecnología médica comprende la gestión del proceso, resolución y determinación de las acciones de salud mediante la utilización de tecnologías médicas y aplicando conocimientos multidisciplinarios, en las diversas disciplinas de las ciencias biomédicas. </a:t>
            </a:r>
          </a:p>
          <a:p>
            <a:r>
              <a:rPr lang="es-MX" dirty="0"/>
              <a:t>		Asimismo, el ejercicio de la tecnología médica permite detectar condiciones de salud a través de medidas instrumentales, mediante la ejecución, análisis, interpretación y evaluación de pruebas y exámenes, con el fin de contribuir a que los procesos clínicos cuenten con información biológica objetiva y reducir los errores clínicos prevenibles, considerando las normas de riesgo de bioseguridad y bioética, a través de acciones que garanticen el aseguramiento de la calidad, seguridad y uso adecuado de las medidas instrumentales.</a:t>
            </a:r>
          </a:p>
          <a:p>
            <a:r>
              <a:rPr lang="es-MX" dirty="0"/>
              <a:t>		Para efectos del presente Libro, el ejercicio de la tecnología médica por la o el tecnólogo médico deberá contar con alguna de las siguientes menciones: </a:t>
            </a:r>
          </a:p>
          <a:p>
            <a:r>
              <a:rPr lang="es-MX" dirty="0"/>
              <a:t>	a) Mención laboratorio clínico, hematología y banco de sangre, la cual comprende el ejercicio de la tecnología médica en los procesos de laboratorios clínicos, biología molecular y servicios de sangre.</a:t>
            </a:r>
          </a:p>
          <a:p>
            <a:r>
              <a:rPr lang="es-MX" dirty="0"/>
              <a:t>	b) Mención radiología y física médica, la cual comprende el ejercicio de la tecnología médica en la ejecución de procedimientos, exámenes diagnósticos y tratamientos, mediante la aplicación de la física médica en las áreas de la radiología e imagenología, radioterapia y medicina nuclear. </a:t>
            </a:r>
          </a:p>
          <a:p>
            <a:r>
              <a:rPr lang="es-MX" dirty="0"/>
              <a:t>	c) Mención morfofisiopatología y citodiagnóstico, la cual comprende el ejercicio de la tecnología médica en el procesamiento y análisis de los hallazgos encontrados en tejidos, células, fluidos y líquidos; en las áreas de citodiagnóstico, histopatología, citogenética, biología molecular y celular. </a:t>
            </a:r>
          </a:p>
          <a:p>
            <a:r>
              <a:rPr lang="es-MX" dirty="0"/>
              <a:t>	d) Mención otorrinolaringología, la cual comprende el ejercicio de la tecnología médica en la ejecución de acciones en salud relacionadas con las áreas de audiología, otoneurología, neurofisiología, evaluación </a:t>
            </a:r>
            <a:r>
              <a:rPr lang="es-MX" dirty="0" err="1"/>
              <a:t>nasorespiratoria</a:t>
            </a:r>
            <a:r>
              <a:rPr lang="es-MX" dirty="0"/>
              <a:t> y salud ocupacional.</a:t>
            </a:r>
          </a:p>
          <a:p>
            <a:r>
              <a:rPr lang="es-MX" dirty="0"/>
              <a:t>	e) Mención oftalmología, la cual comprende el ejercicio de la tecnología médica en procedimientos y exámenes de la función visual y oftalmológica en todas sus áreas. </a:t>
            </a:r>
          </a:p>
          <a:p>
            <a:r>
              <a:rPr lang="es-MX" dirty="0"/>
              <a:t>		La o el tecnólogo médico con mención en oftalmología podrá indicar, adaptar y verificar lentes ópticos; prescribir y administrar los fármacos del área oftalmológica de aplicación tópica que sean precisos; y controlar las ayudas técnicas destinadas a corregir vicios de refracción. Asimismo, la o el tecnólogo médico con mención en oftalmología podrá detectar alteraciones del globo ocular y disfunciones visuales, a fin de derivar oportunamente a la o el médico cirujano especialista que corresponda. </a:t>
            </a:r>
          </a:p>
          <a:p>
            <a:r>
              <a:rPr lang="es-MX" dirty="0"/>
              <a:t>		Cuando la o el tecnólogo médico con mención en oftalmología preste sus servicios a personas que, al ser examinadas, evidencien la presencia de patologías locales o sistémicas, deberán derivar de inmediato al paciente a un médico cirujano con especialización en oftalmología. Con todo, la o el tecnólogo médico con mención en oftalmología podrá participar junto al referido médico cirujano en la atención del paciente para su rehabilitación, si así se requiriese. </a:t>
            </a:r>
          </a:p>
          <a:p>
            <a:r>
              <a:rPr lang="es-MX" dirty="0"/>
              <a:t>		Quienes cuenten con el título de optómetra obtenido en el extranjero y profesionales que provengan de países con convenio internacional de acuerdo con la ley </a:t>
            </a:r>
            <a:r>
              <a:rPr lang="es-MX" dirty="0" err="1"/>
              <a:t>N°</a:t>
            </a:r>
            <a:r>
              <a:rPr lang="es-MX" dirty="0"/>
              <a:t> 3.860, podrán desarrollar las actividades a que se refiere este literal, siempre que convaliden ante una universidad del Estado sus actividades curriculares de conformidad con lo dispuesto en el artículo 143 de la ley N°21.325, de migración y extranjería.</a:t>
            </a:r>
          </a:p>
          <a:p>
            <a:endParaRPr lang="es-MX" dirty="0"/>
          </a:p>
          <a:p>
            <a:r>
              <a:rPr lang="es-MX" dirty="0"/>
              <a:t>Artículo 114 L.- El ejercicio de la terapia ocupacional comprende la ejecución de acciones de salud para las personas, familias y comunidades a lo largo del curso de vida, a través de actividades terapéuticas y ocupaciones significativas con la finalidad de facilitar la participación activa, funcional, independiente y autónoma de las personas y colectivos. Lo anterior tiene como objetivo promover la inclusión social y el desarrollo y ejecución de proyectos de vida.</a:t>
            </a: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1</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33094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Artículo 114º M.- El ejercicio por parte de la o el técnico de salud de nivel superior comprende la ejecución de procedimientos y técnicas de su área de desempeño correspondiente, participando y colaborando activamente en el cuidado de las personas, familias y comunidades durante todo el curso de vida; bajo supervigilancia del profesional del equipo de salud respectivo.</a:t>
            </a:r>
          </a:p>
          <a:p>
            <a:endParaRPr lang="es-MX" dirty="0"/>
          </a:p>
          <a:p>
            <a:r>
              <a:rPr lang="es-MX" dirty="0"/>
              <a:t>Artículo 114º N.- El ejercicio por parte de la o el técnico en enfermería de nivel superior comprende la ejecución de procedimientos y técnicas de enfermería, participando y colaborando activamente en el cuidado de las personas, familias y comunidades durante todo el curso de vida; bajo supervigilancia de la o el enfermero o del profesional del equipo de salud respectivo.</a:t>
            </a:r>
          </a:p>
          <a:p>
            <a:endParaRPr lang="es-MX" dirty="0"/>
          </a:p>
          <a:p>
            <a:r>
              <a:rPr lang="es-MX" dirty="0"/>
              <a:t>Artículo 114º O.- El ejercicio por parte de la o el técnico de odontología nivel superior sólo podrá realizarse bajo indicación de una o un cirujano dentista, pudiendo ejecutar técnicas y procedimientos básicos en la cavidad bucal bajo supervisión directa de dicho profesional.</a:t>
            </a:r>
          </a:p>
          <a:p>
            <a:r>
              <a:rPr lang="es-MX" dirty="0"/>
              <a:t>		El ejercicio por parte de la o el laboratorista dental sólo podrá realizarse por indicación de una o un cirujano dentista, quedándoles prohibido ejecutar prestaciones en la cavidad bucal.</a:t>
            </a: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2</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15174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 La responsabilidad fue un tema muy discutido, porque si estamos avanzando en otorgar mayor autonomía a los profesionales no médicos es importante relevar la responsabilidad con la misma fuerza.</a:t>
            </a:r>
          </a:p>
          <a:p>
            <a:r>
              <a:rPr lang="es-CL" dirty="0"/>
              <a:t>- El ejercicio ilegal, al igual que la responsabilidad, es importante de destacarlo para todos los profesionales, técnicos y auxiliares que se están incluyendo en la actualización para que no existan los mismos problemas que han existido con el Médico en particular.</a:t>
            </a:r>
          </a:p>
          <a:p>
            <a:r>
              <a:rPr lang="es-CL" dirty="0"/>
              <a:t>- El interés patrimonial, hoy, en el texto vigente se habla de interés comercial, sin embargo, la Ley 20.880 habla de patrimonio e intereses.</a:t>
            </a: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3</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91017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 La responsabilidad fue un tema muy discutido, porque si estamos avanzando en otorgar mayor autonomía a los profesionales no médicos es importante relevar la responsabilidad con la misma fuerza.</a:t>
            </a:r>
          </a:p>
          <a:p>
            <a:r>
              <a:rPr lang="es-CL" dirty="0"/>
              <a:t>- El ejercicio ilegal, al igual que la responsabilidad, es importante de destacarlo para todos los profesionales, técnicos y auxiliares que se están incluyendo en la actualización para que no existan los mismos problemas que han existido con el Médico en particular.</a:t>
            </a:r>
          </a:p>
          <a:p>
            <a:r>
              <a:rPr lang="es-CL" dirty="0"/>
              <a:t>- El interés patrimonial, hoy, en el texto vigente se habla de interés comercial, sin embargo, la Ley 20.880 habla de patrimonio e intereses.</a:t>
            </a: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4</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29123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La mayoría de estas situaciones excepcionales están reguladas en el Código Sanitario o en otras legislaciones de manera somera, por lo cual era necesario hacer mención a estas situaciones muy en particular en como él país ha recibido una importante migración.</a:t>
            </a:r>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5</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42714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La mayoría de estas situaciones excepcionales están reguladas en el Código Sanitario o en otras legislaciones de manera somera, por lo cual era necesario hacer mención a estas situaciones muy en particular en como él país ha recibido una importante migración.</a:t>
            </a:r>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6</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295490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7</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721856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l incremento global de la prevalencia de enfermedades no transmisibles es uno de los principales desafíos sanitarios modernos, debido a la necesidad continua de atenciones y cuidados, aumentando la carga que significa para el sistema de salud. Aspectos como el envejecimiento poblacional y la polifarmacia, junto a la multimorbilidad, han contribuido a la importancia de esta problemática, que amenaza la sostenibilidad de los sistemas sanitarios.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l sistema público de salud chileno no está exento a estos problemas, la incesante demanda por atención médica genera un importante retraso en la atención, lo que, sumado a los efectos de la pandemia sobre el sistema, han resultado en un importante aumento de las listas de espera en todos los niveles de atención (Ver informe Glosa 05 Lista de Espera no GES y GES retrasadas).</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a prescripción no médica (non-medical </a:t>
            </a:r>
            <a:r>
              <a:rPr lang="es-CL"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prescribing</a:t>
            </a: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NMP) es una de las medidas más ampliamente difundidas para mejorar el acceso sanitario y la eficiencia de los sistemas de salud globales. Permite aumentar el acceso a los medicamentos por parte de los usuarios, además de optimizar el recurso médico en relación con las necesidades específicas del sistema de salud. Se entiende como prescripción a la acción de salud en la que se indica el medicamento que debe proporcionarse a un paciente, así como las normas para su correcta administración.</a:t>
            </a:r>
          </a:p>
          <a:p>
            <a:pPr algn="just">
              <a:lnSpc>
                <a:spcPct val="107000"/>
              </a:lnSpc>
              <a:spcAft>
                <a:spcPts val="800"/>
              </a:spcAft>
            </a:pPr>
            <a:endPar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n el texto se hace diferenciación de la prescripción y la indicación se manera de mencionar la prescripción como propia de los productos farmacéuticos.</a:t>
            </a:r>
          </a:p>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e habla entonces de prescriptor </a:t>
            </a:r>
            <a:r>
              <a:rPr lang="es-CL"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independiende</a:t>
            </a: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y prescriptor suplementario.</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8</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635140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a legislación chilena actual (código sanitario) establece que la prescripción de medicamentos puede ser efectuada por: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Font typeface="Symbol" panose="05050102010706020507" pitchFamily="18" charset="2"/>
              <a:buChar char=""/>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édicos, sin límite o definición.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Font typeface="Symbol" panose="05050102010706020507" pitchFamily="18" charset="2"/>
              <a:buChar char=""/>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irujano-dentistas, en ámbitos relacionados al área odontoestomatológica.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Font typeface="Symbol" panose="05050102010706020507" pitchFamily="18" charset="2"/>
              <a:buChar char=""/>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atronas, en ámbitos relacionados a la salud sexual y reproductiva.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buFont typeface="Symbol" panose="05050102010706020507" pitchFamily="18" charset="2"/>
              <a:buChar char=""/>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ecnólogos médicos con mención en oftalmología, en ámbitos relacionados a medicamentos tópicos para la visión.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just">
              <a:lnSpc>
                <a:spcPct val="107000"/>
              </a:lnSpc>
              <a:spcAft>
                <a:spcPts val="800"/>
              </a:spcAft>
              <a:buFont typeface="Symbol" panose="05050102010706020507" pitchFamily="18" charset="2"/>
              <a:buChar char=""/>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édicos Veterinarios, para atención animal.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s-E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s-CL" sz="18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n él se identifica a Chile como poseedor de NMP, donde todos los prescriptores se definen como independientes; con la matrona cumpliendo con un gran rol en la salud sexual y reproductiva del país y los tecnólogos médicos desde el 2016 reduciendo las listas de espera de vicios de refracción en la red pública del país, mejorando el acceso a la salud oftálmica en Chile. Sin embargo; en relación con la optimización del recurso médico, según datos de la OCDE, Chile está en el lugar 27 del ranking de consultas médicas al año, con 3,8 visitas médicas al año per cápita (promedio OCDE 6,8). De forma análoga, Chile al 2018 poseía 2,6 médicos por cada 1000 habitantes, bajo el promedio de 3,4 en la OCDE. </a:t>
            </a:r>
          </a:p>
          <a:p>
            <a:pPr algn="just">
              <a:lnSpc>
                <a:spcPct val="107000"/>
              </a:lnSpc>
              <a:spcAft>
                <a:spcPts val="800"/>
              </a:spcAft>
            </a:pPr>
            <a:endPar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r>
              <a:rPr lang="es-CL"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os requisitos para ser prescriptor suplementario son necesarios para resguardar la calidad y seguridad de la atención, siendo un paso agigantado para implementar la prescripción no médica de manera transversal.</a:t>
            </a:r>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9</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86863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20</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99875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kern="1200" dirty="0">
                <a:solidFill>
                  <a:schemeClr val="tx1"/>
                </a:solidFill>
                <a:effectLst/>
                <a:latin typeface="+mn-lt"/>
                <a:ea typeface="+mn-ea"/>
                <a:cs typeface="+mn-cs"/>
              </a:rPr>
              <a:t>En el Libro V del Código Sanitario vigente se hace mención explícita al ejercicio de la Medicina, Odontología, Química y Farmacia, a las que se agrega una mención genérica que señala “otras relacionadas con la conservación y restablecimiento de la salud”. Luego, respecto de la atención de las personas en prestaciones específicas, se refiere a Matronas, Psicólogos, Enfermeras y Tecnólogos médicos con mención en Oftalmología. Otras profesiones de la salud, que se han desarrollado como tales en los últimos 50 años y que hoy son parte de los equipos de salud, no son mencionadas en el Código Sanitario. Este es el caso de Nutricionistas, Fonoaudiólogos, Terapeutas Ocupacionales, Kinesiólogos, Bioquímicos, Tecnólogos Médicos en sus otras menciones, y Médicos Veterinarios. Otros ausentes son los Técnicos en Salud, los cuales son homologados al ejercicio de profesiones auxiliares mencionados en el art. 112.</a:t>
            </a:r>
          </a:p>
          <a:p>
            <a:endParaRPr lang="es-CL" sz="1200" kern="1200" dirty="0">
              <a:solidFill>
                <a:schemeClr val="tx1"/>
              </a:solidFill>
              <a:effectLst/>
              <a:latin typeface="+mn-lt"/>
              <a:ea typeface="+mn-ea"/>
              <a:cs typeface="+mn-cs"/>
            </a:endParaRPr>
          </a:p>
          <a:p>
            <a:r>
              <a:rPr lang="es-CL" sz="1200" kern="1200" dirty="0">
                <a:solidFill>
                  <a:schemeClr val="tx1"/>
                </a:solidFill>
                <a:effectLst/>
                <a:latin typeface="+mn-lt"/>
                <a:ea typeface="+mn-ea"/>
                <a:cs typeface="+mn-cs"/>
              </a:rPr>
              <a:t>Las Medicinas Complementarias se encuentran reguladas como “Profesiones auxiliares” lo anterior de acuerdo al Decreto N°42/2004 que a</a:t>
            </a:r>
            <a:r>
              <a:rPr lang="es-MX" sz="1200" kern="1200" dirty="0">
                <a:solidFill>
                  <a:schemeClr val="tx1"/>
                </a:solidFill>
                <a:effectLst/>
                <a:latin typeface="+mn-lt"/>
                <a:ea typeface="+mn-ea"/>
                <a:cs typeface="+mn-cs"/>
              </a:rPr>
              <a:t>prueba el Reglamento para el ejercicio de las prácticas médicas alternativas como profesiones auxiliares de la salud y de los establecimientos en que éstas se realizan. Actualmente se encuentran reguladas 3 prácticas médicas complementarias: Acupuntura, Naturopatía y Homeopatía, cada una con su propio reglamento.</a:t>
            </a:r>
            <a:endParaRPr lang="es-CL"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5"/>
          </p:nvPr>
        </p:nvSpPr>
        <p:spPr/>
        <p:txBody>
          <a:bodyPr/>
          <a:lstStyle/>
          <a:p>
            <a:fld id="{A3394882-398F-485D-88D0-777C2404E081}" type="slidenum">
              <a:rPr lang="es-CL" smtClean="0"/>
              <a:pPr/>
              <a:t>3</a:t>
            </a:fld>
            <a:endParaRPr lang="es-CL"/>
          </a:p>
        </p:txBody>
      </p:sp>
    </p:spTree>
    <p:extLst>
      <p:ext uri="{BB962C8B-B14F-4D97-AF65-F5344CB8AC3E}">
        <p14:creationId xmlns:p14="http://schemas.microsoft.com/office/powerpoint/2010/main" val="2722172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Examen Único Nacional de Conocimientos de salud para todo profesional integrante del equipo de atención de salud, lo cual se requiere dada la heterogeneidad en la formación del personal de salud en el país, buscando un factor de nivelación de las competencias requeridas para realizar acciones de salud con calidad y seguridad de la atención.</a:t>
            </a:r>
          </a:p>
          <a:p>
            <a:endParaRPr lang="es-MX" dirty="0"/>
          </a:p>
          <a:p>
            <a:r>
              <a:rPr lang="es-MX" dirty="0"/>
              <a:t>Respecto de las especialidades médicas, se hace mención a las especialidades para afirmar que el Ministerio de Salud podrá definir especialidades, haciendo un reconocimiento a la existencia de las mismas, armonizando la regulación vigente. Donde la actualización del Decreto 8 (reglamento que regula las especializades y subespecialidades) también busca que se incluya el reconocimiento de especialidades no médicas. </a:t>
            </a:r>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21</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61215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22</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565536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2. El decreto supremo que hace referencia el artículo 113°: El Ministerio de Salud dictará un decreto supremo suscrito además, por el Ministerio de Educación, en el cual establecerá las especialidades que podrán ser consideradas como técnicos de la salud de nivel medio. </a:t>
            </a:r>
          </a:p>
          <a:p>
            <a:r>
              <a:rPr lang="es-MX" dirty="0"/>
              <a:t>3. Actualizar los reglamentos de auxiliares de salud: Cosmetología, Podología, Ópticos, Contactólogos, Auxiliares Paramédicos, Auxiliares de Farmacia, Auxiliares de Medicinas Complementarias.</a:t>
            </a:r>
          </a:p>
          <a:p>
            <a:r>
              <a:rPr lang="es-MX" dirty="0"/>
              <a:t>4. Los reglamentos a dictar son:</a:t>
            </a:r>
          </a:p>
          <a:p>
            <a:r>
              <a:rPr lang="es-MX" dirty="0"/>
              <a:t>Artículo 114E: Indicación de exámenes clínicos que podrán realizar otros profesionales de la salud de acuerdo con los requisitos que establezca un reglamento dictado por el Ministerio de Salud.</a:t>
            </a:r>
          </a:p>
          <a:p>
            <a:r>
              <a:rPr lang="es-MX" dirty="0"/>
              <a:t>Artículo 117: Un reglamento dictado por el Ministerio de Salud regulará el informe emitido por el colegio profesional respectivo estableciendo que no se vulnera la ética profesional, debiendo especificar las excepciones a las que se hacen referencia.</a:t>
            </a:r>
          </a:p>
          <a:p>
            <a:r>
              <a:rPr lang="es-MX" dirty="0"/>
              <a:t>Artículo 118: La Secretaría Regional Ministerial de Salud respectiva podrá autorizar el ejercicio como profesional, técnico o auxiliar de la salud, a quienes acrediten un título equivalente otorgado en el extranjero, de conformidad al reglamento dictado por el Ministerio de Salud.</a:t>
            </a:r>
          </a:p>
          <a:p>
            <a:r>
              <a:rPr lang="es-MX" dirty="0"/>
              <a:t>Artículo 120: Un reglamento dictado por el Ministerio de Salud deberá establecer, al menos, los requisitos para la obtención de la certificación de competencias para efectuar prescripciones o indicaciones suplementarias, los cuales deberán exigir al menos experiencia clínica y formación, protocolos que señalen la forma en que se efectuará la prescripción o indicación suplementaria, los productos sanitarios que cada profesional de la salud podrá prescribir o indicar estando relacionados con sus respectivas áreas de desempeño, y las condiciones que debe disponer el establecimiento de salud para que exista la prescripción suplementaria en sus dependencias.</a:t>
            </a:r>
          </a:p>
          <a:p>
            <a:r>
              <a:rPr lang="es-MX" dirty="0"/>
              <a:t>Artículo 120ter: Un reglamento, dictado por el Ministerio de Salud, establecerá los criterios generales del examen de conocimientos establecido en el presente artículo con el perfil profesional requerido para el cumplimiento de los objetivos de la política nacional de salud, así como también, aquellos que aseguren la objetividad, transparencia, igualdad y adecuada publicidad en su diseño y administración, y, en general toda otra materia relacionada con su exigencia, aplicación y evaluación. Asimismo, el reglamento determinará la puntuación mínima requerida ya sea a través de una nota, calificación, porcentaje, u otro factor análogo de medición, para efecto de lo dispuesto en este Libro, y, en general, contendrá toda otra norma necesaria para la adecuada y eficiente aplicación del presente artículo.</a:t>
            </a: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23</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37910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Este artículo se incluye basado en la premisa: “</a:t>
            </a:r>
            <a:r>
              <a:rPr lang="es-ES" sz="1800" dirty="0">
                <a:effectLst/>
                <a:latin typeface="Calibri" panose="020F0502020204030204" pitchFamily="34" charset="0"/>
                <a:ea typeface="Calibri" panose="020F0502020204030204" pitchFamily="34" charset="0"/>
              </a:rPr>
              <a:t>Las profesiones que presten acciones de salud no pueden ser creadas por reglamento, sino que deben encontrarse establecidas en el CS”.</a:t>
            </a:r>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24</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078234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p:cNvGrpSpPr/>
        <p:nvPr/>
      </p:nvGrpSpPr>
      <p:grpSpPr>
        <a:xfrm>
          <a:off x="0" y="0"/>
          <a:ext cx="0" cy="0"/>
          <a:chOff x="0" y="0"/>
          <a:chExt cx="0" cy="0"/>
        </a:xfrm>
      </p:grpSpPr>
      <p:sp>
        <p:nvSpPr>
          <p:cNvPr id="131" name="Google Shape;131;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2" name="Google Shape;132;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406400" y="696913"/>
            <a:ext cx="6197600" cy="3486150"/>
          </a:xfrm>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fld id="{22B208DF-24DF-1C46-8C17-8757FEFE8420}" type="slidenum">
              <a:rPr lang="en-US" smtClean="0"/>
              <a:pPr/>
              <a:t>4</a:t>
            </a:fld>
            <a:endParaRPr lang="en-US"/>
          </a:p>
        </p:txBody>
      </p:sp>
    </p:spTree>
    <p:extLst>
      <p:ext uri="{BB962C8B-B14F-4D97-AF65-F5344CB8AC3E}">
        <p14:creationId xmlns:p14="http://schemas.microsoft.com/office/powerpoint/2010/main" val="2928616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406400" y="696913"/>
            <a:ext cx="6197600" cy="3486150"/>
          </a:xfrm>
        </p:spPr>
      </p:sp>
      <p:sp>
        <p:nvSpPr>
          <p:cNvPr id="3" name="2 Marcador de notas"/>
          <p:cNvSpPr>
            <a:spLocks noGrp="1"/>
          </p:cNvSpPr>
          <p:nvPr>
            <p:ph type="body" idx="1"/>
          </p:nvPr>
        </p:nvSpPr>
        <p:spPr/>
        <p:txBody>
          <a:bodyPr/>
          <a:lstStyle/>
          <a:p>
            <a:r>
              <a:rPr lang="es-CL" dirty="0"/>
              <a:t>Tuición ética: se regula en otro cuerpo legal, existe un Boletín en trámite.</a:t>
            </a:r>
          </a:p>
          <a:p>
            <a:r>
              <a:rPr lang="es-CL" dirty="0"/>
              <a:t>Exclusividad Universitaria: Se decide en conjunto a MINEDUC mantener el texto vigente respecto de la formación de profesionales. El tema de exclusividad universitaria se regula en la normativa de educación.</a:t>
            </a:r>
          </a:p>
          <a:p>
            <a:r>
              <a:rPr lang="es-CL" dirty="0"/>
              <a:t>Medicinas Complementarias: Se regulan como auxiliares de salud.</a:t>
            </a:r>
          </a:p>
          <a:p>
            <a:r>
              <a:rPr lang="es-CL" dirty="0"/>
              <a:t>Trabajadores Sociales: Se excluyen por no contar con formación de pregrado en salud ni otorgar atención de salud de manera directa.</a:t>
            </a:r>
          </a:p>
          <a:p>
            <a:r>
              <a:rPr lang="es-CL" dirty="0"/>
              <a:t>Psicopedagogos son considerados personas de educación.</a:t>
            </a:r>
          </a:p>
          <a:p>
            <a:r>
              <a:rPr lang="es-CL" dirty="0"/>
              <a:t>Quiroprácticos: tienen una formación de especialidad de 3 años exclusivo para profesionales titulados (kinesiólogos, médicos y odontólogos), por lo que no tienen formación de pregrado.</a:t>
            </a:r>
          </a:p>
          <a:p>
            <a:r>
              <a:rPr lang="es-CL" dirty="0"/>
              <a:t>Físico Médicos: no tienen formación de pregrado en salud, es formación de especialidad.</a:t>
            </a:r>
          </a:p>
        </p:txBody>
      </p:sp>
      <p:sp>
        <p:nvSpPr>
          <p:cNvPr id="4" name="3 Marcador de número de diapositiva"/>
          <p:cNvSpPr>
            <a:spLocks noGrp="1"/>
          </p:cNvSpPr>
          <p:nvPr>
            <p:ph type="sldNum" sz="quarter" idx="10"/>
          </p:nvPr>
        </p:nvSpPr>
        <p:spPr/>
        <p:txBody>
          <a:bodyPr/>
          <a:lstStyle/>
          <a:p>
            <a:fld id="{22B208DF-24DF-1C46-8C17-8757FEFE8420}" type="slidenum">
              <a:rPr lang="en-US" smtClean="0"/>
              <a:pPr/>
              <a:t>5</a:t>
            </a:fld>
            <a:endParaRPr lang="en-US"/>
          </a:p>
        </p:txBody>
      </p:sp>
    </p:spTree>
    <p:extLst>
      <p:ext uri="{BB962C8B-B14F-4D97-AF65-F5344CB8AC3E}">
        <p14:creationId xmlns:p14="http://schemas.microsoft.com/office/powerpoint/2010/main" val="1543198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Nuevo nombre del título propuesto.</a:t>
            </a:r>
          </a:p>
          <a:p>
            <a:r>
              <a:rPr lang="es-CL" dirty="0"/>
              <a:t>Hablamos de equipo de “atención” de salud para diferenciar del “equipo de salud” que aparece en la Ley 20584 y el concepto de “equipo de salud” de OMS que incluye a todos y todas quienes participan en el acto de salud, incluyendo a los pacientes. </a:t>
            </a:r>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6</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23816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Se regulan a profesionales, técnicos y auxiliares.</a:t>
            </a:r>
          </a:p>
          <a:p>
            <a:r>
              <a:rPr lang="es-MX" dirty="0"/>
              <a:t>Se rescatan los enfoques dándole marco a la actualización.</a:t>
            </a:r>
          </a:p>
          <a:p>
            <a:r>
              <a:rPr lang="es-MX" dirty="0"/>
              <a:t>Se hace mención al registro de la Superintendencia considerando la relevancia que tiene este registro, muy en especial como información para el paciente.</a:t>
            </a:r>
          </a:p>
          <a:p>
            <a:r>
              <a:rPr lang="es-MX" dirty="0"/>
              <a:t>Se destaca que los integrantes del equipo de atención de salud también pueden atender de manera individual.</a:t>
            </a:r>
          </a:p>
          <a:p>
            <a:r>
              <a:rPr lang="es-MX" dirty="0"/>
              <a:t>Se hace mención al ejercicio de estos profesionales en otras áreas (este punto fue incluido en la gran mayoría de las definiciones, por lo cual en el trabajo se decidió dejar un artículo transversal, destacando la No discriminación para ejercer en estos ámbitos entre profesionales, técnicos y auxiliares.</a:t>
            </a:r>
          </a:p>
          <a:p>
            <a:endParaRPr lang="es-MX" dirty="0"/>
          </a:p>
          <a:p>
            <a:endParaRPr lang="es-MX" dirty="0"/>
          </a:p>
          <a:p>
            <a:endParaRPr lang="es-MX"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7</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26369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Se decide en conjunto a MINEDUC mantener el texto legal vigente respecto de la formación de estos profesionales dado que con el texto vigente no ha sido impedimento para que MINEDUC regule las instituciones de educación superior. Sin embargo, queda como un tema pendiente la exclusividad universitaria.</a:t>
            </a:r>
          </a:p>
          <a:p>
            <a:r>
              <a:rPr lang="es-MX" dirty="0"/>
              <a:t>Se hace mención a los dos niveles de técnicos en salud, sin embargo, nos parece que el MINEDUC debiera facilitar que estos técnicos logren avanzar a una formación de nivel superior.</a:t>
            </a:r>
          </a:p>
          <a:p>
            <a:r>
              <a:rPr lang="es-MX" dirty="0"/>
              <a:t>Los auxiliares de salud aún existen, a pesar de que nos encontramos en un proceso de tecnificación (minita DTO90 adjunta), donde los auxiliares paramédicos en particular se encuentran en proceso de extinción, sin embargo, hay auxiliares que siguen ejerciendo y son requeridos por la población.</a:t>
            </a:r>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8</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00469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Artículo 114º.- El ejercicio de la bioquímica comprende el estudio e investigación de los aspectos químicos en los sistemas biológicos, en procesos de laboratorios clínicos, microbiológicos y hematológicos, unidades de apoyo diagnóstico y laboratorios forenses; </a:t>
            </a:r>
            <a:r>
              <a:rPr lang="es-MX" dirty="0" err="1"/>
              <a:t>disponibilizando</a:t>
            </a:r>
            <a:r>
              <a:rPr lang="es-MX" dirty="0"/>
              <a:t> las bases moleculares de dichos procesos en condiciones fisiológicas y patológicas. Asimismo, el ejercicio de esta profesión contribuye a la interpretación útil para la prevención, diagnóstico y evolución de patologías. También este comprende la ejecución de acciones de salud mediante el diseño, implementación, aplicación y supervisión de métodos, técnicas y procedimientos de análisis químico, inmunológico, molecular, genético y legal, a través de acciones que garanticen el aseguramiento de la calidad de los procesos mencionados.</a:t>
            </a:r>
          </a:p>
          <a:p>
            <a:endParaRPr lang="es-MX" dirty="0"/>
          </a:p>
          <a:p>
            <a:r>
              <a:rPr lang="es-MX" dirty="0"/>
              <a:t>Artículo 114º A.- El ejercicio de la enfermería comprende la gestión del cuidado de las personas, familias y comunidades, a través de la valoración, diagnóstico de enfermería, planificación, indicación, ejecución y evaluación de un plan de cuidados humanizado, oportuno, seguro y de calidad durante todo el curso de vida.</a:t>
            </a:r>
          </a:p>
          <a:p>
            <a:r>
              <a:rPr lang="es-MX" dirty="0"/>
              <a:t>		Asimismo, el ejercicio de esta profesión incluye planificar, ejecutar, coordinar y evaluar las acciones derivadas del diagnóstico y tratamiento médico, interactuando con los otros integrantes del equipo de atención de salud. </a:t>
            </a:r>
          </a:p>
          <a:p>
            <a:r>
              <a:rPr lang="es-MX" dirty="0"/>
              <a:t>		Además, la o el enfermero planifica y ejecuta las acciones referentes a la continuidad y articulación de los cuidados, con el objeto de educar, promover, mantener y restaurar la salud física y mental, prevenir enfermedades y lesiones de las personas, familias y comunidades, desde que se nace, incluyendo la lactancia materna, hasta el final de la vida; procurando que estos cuidados se desarrollen en un ambiente saludable. </a:t>
            </a:r>
          </a:p>
          <a:p>
            <a:r>
              <a:rPr lang="es-MX" dirty="0"/>
              <a:t>		Igualmente, las y los enfermeros velan por la mejor administración de los recursos relacionados con la gestión clínica y gestión del cuidado.</a:t>
            </a:r>
          </a:p>
          <a:p>
            <a:endParaRPr lang="es-MX" dirty="0"/>
          </a:p>
          <a:p>
            <a:r>
              <a:rPr lang="es-MX" dirty="0"/>
              <a:t>Artículo 114º B.- El ejercicio de la fonoaudiología comprende la ejecución de acciones de salud, a través de la gestión e intervención en los ámbitos de la comunicación, habla, lenguaje, </a:t>
            </a:r>
            <a:r>
              <a:rPr lang="es-MX" dirty="0" err="1"/>
              <a:t>neurocognición</a:t>
            </a:r>
            <a:r>
              <a:rPr lang="es-MX" dirty="0"/>
              <a:t>, cognición social, voz, motricidad orofacial, deglución y alimentación, audición, otoneurología y equilibrio postural, con impacto en la participación familiar, educativa, laboral y social en las personas, y sus comunidades.</a:t>
            </a:r>
          </a:p>
          <a:p>
            <a:endParaRPr lang="es-MX" dirty="0"/>
          </a:p>
          <a:p>
            <a:r>
              <a:rPr lang="es-MX" dirty="0"/>
              <a:t>Artículo 114º C.- El ejercicio de la kinesiología comprende la gestión del movimiento y el funcionamiento humano de las personas, familias y comunidades, a través de acciones de salud basadas en el razonamiento clínico. Estas acciones se realizan aplicando terapias manuales e instrumentales, uso de agentes físicos, indicación de ejercicio físico, entrenamiento, rehabilitación y cuidados cardiorrespiratorios, neuromusculares, musculoesqueléticos, sensitivos y vestibulares, con la finalidad de alcanzar el óptimo nivel de desempeño funcional y facilitar la participación e inclusión social de la persona, durante todo el curso de vida, buscando su bienestar físico, psicológico, emocional y social.</a:t>
            </a:r>
          </a:p>
          <a:p>
            <a:endParaRPr lang="es-MX" dirty="0"/>
          </a:p>
          <a:p>
            <a:r>
              <a:rPr lang="es-MX" dirty="0"/>
              <a:t>Artículo 114º D.- El ejercicio de la </a:t>
            </a:r>
            <a:r>
              <a:rPr lang="es-MX" dirty="0" err="1"/>
              <a:t>matronería</a:t>
            </a:r>
            <a:r>
              <a:rPr lang="es-MX" dirty="0"/>
              <a:t> comprende la gestión de los cuidados de la salud sexual y de la salud reproductiva durante todo el curso de vida, otorgando atención y acompañamiento preconcepcional, del embarazo, prenatal, del parto, del puerperio, del recién nacido, en la atención neonatal fisiológica y patológica, en la lactancia materna, a personas que presentan un aborto u otras pérdidas reproductivas. Asimismo, esta profesión abarca la atención ginecológica, sexológica, del piso pélvico y del climaterio, con autonomía ante la ausencia de enfermedad y en la pesquisa de alteraciones, incluyendo el uso de tecnología y medios digitales. También esta profesión ejerce, junto al equipo de atención salud, en el tratamiento de patologías, en la atención neonatal y en la interrupción voluntaria del embarazo según lo establecido por el artículo 119 y siguientes del presente código. </a:t>
            </a:r>
          </a:p>
          <a:p>
            <a:r>
              <a:rPr lang="es-MX" dirty="0"/>
              <a:t>		En la asistencia de partos, la matrona o el matrón sólo podrán intervenir mediante maniobras en que se apliquen técnicas manuales y otros procedimientos que sean requeridos ante la atención inmediata de la persona en el proceso de parto y del recién nacido. Esta misma asistencia podrá entregarla en el puerperio. </a:t>
            </a:r>
          </a:p>
          <a:p>
            <a:r>
              <a:rPr lang="es-MX" dirty="0"/>
              <a:t>		La matrona o el matrón en el ejercicio de su profesión deberá promover y asegurar los derechos de la mujer o persona gestante, de la persona recién nacida y acompañante significativo, en el ámbito de la atención ginecológica de la salud sexual y reproductiva, especialmente durante la atención de la gestación, preparto, parto, puerperio, aborto u otras pérdidas reproductivas, muerte gestacional o perinatal.</a:t>
            </a:r>
          </a:p>
          <a:p>
            <a:r>
              <a:rPr lang="es-MX" dirty="0"/>
              <a:t>		El ejercicio de la </a:t>
            </a:r>
            <a:r>
              <a:rPr lang="es-MX" dirty="0" err="1"/>
              <a:t>matronería</a:t>
            </a:r>
            <a:r>
              <a:rPr lang="es-MX" dirty="0"/>
              <a:t> también incluye la facultad de indicar, usar y prescribir medicamentos en relación con planificación familiar y regulación de la fertilidad; la gestión, indicación, uso y prescripción de anticonceptivos hormonales -incluyendo anticonceptivos de emergencia- y no hormonales, procedimientos anticonceptivos que no impliquen uso de técnicas quirúrgicas, de conformidad a la normativa vigente, en especial la ley </a:t>
            </a:r>
            <a:r>
              <a:rPr lang="es-MX" dirty="0" err="1"/>
              <a:t>Nº</a:t>
            </a:r>
            <a:r>
              <a:rPr lang="es-MX" dirty="0"/>
              <a:t> 20.418, que fija normas sobre información, orientación y prestaciones en materia de regulación de la fertilidad. </a:t>
            </a:r>
          </a:p>
          <a:p>
            <a:r>
              <a:rPr lang="es-MX" dirty="0"/>
              <a:t>		El ejercicio de la </a:t>
            </a:r>
            <a:r>
              <a:rPr lang="es-MX" dirty="0" err="1"/>
              <a:t>matronería</a:t>
            </a:r>
            <a:r>
              <a:rPr lang="es-MX" dirty="0"/>
              <a:t> también contempla la facultad de indicar exámenes destinados a la prevención, diagnóstico o tratamiento de alteraciones de la salud sexual, ginecológica, climatérica, obstétrica y neonatal; otorgar reposo y licencias médicas, de conformidad a la normativa vigente.</a:t>
            </a:r>
          </a:p>
          <a:p>
            <a:r>
              <a:rPr lang="es-MX" dirty="0"/>
              <a:t>		Las salas de procedimientos gineco-obstétricas, además de las acciones antes mencionadas, podrán ser destinadas por la matrona o matrón al control de la evolución del embarazo y quedarán incluidas en la reglamentación sobre la atención del proceso reproductivo.</a:t>
            </a:r>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9</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20462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Artículo 114º E.- El ejercicio de la medicina comprende la ejecución de todos aquellos actos relacionados con el diagnóstico, pronóstico y tratamiento médico de trastornos o enfermedades de las personas, y la indicación de actividades dirigidas a la prevención de enfermedades, promoción y mantenimiento de la salud, en las personas, familias y comunidades.</a:t>
            </a:r>
          </a:p>
          <a:p>
            <a:r>
              <a:rPr lang="es-MX" dirty="0"/>
              <a:t>		Para efectos de lo dispuesto en este artículo, constituyen actos médicos, entre otros, la indicación de exámenes clínicos destinados a la prevención, diagnóstico, o tratamiento de enfermedades, la realización de intervenciones quirúrgicas en seres humanos, el otorgamiento de reposo y licencias médicas, de conformidad a la normativa vigente.</a:t>
            </a:r>
          </a:p>
          <a:p>
            <a:r>
              <a:rPr lang="es-MX" dirty="0"/>
              <a:t>		No obstante, lo dispuesto en el inciso anterior, quienes cumplan funciones de colaboración médica podrán realizar algunas de las actividades señaladas en el presente artículo, siempre que medie indicación y supervigilancia, directa o indirecta, de un profesional que ejerza la medicina, con excepción de la indicación de exámenes clínicos que podrán realizar otros profesionales de la salud de acuerdo con los requisitos que establezca un reglamento dictado por el Ministerio de Salud.</a:t>
            </a:r>
          </a:p>
          <a:p>
            <a:endParaRPr lang="es-MX" dirty="0"/>
          </a:p>
          <a:p>
            <a:r>
              <a:rPr lang="es-MX" dirty="0"/>
              <a:t>Artículo 114º F.- El ejercicio de la medicina veterinaria coadyuva en el cuidado de la salud de las personas, familias y comunidades, y comprende los procesos de atención clínica, diagnóstico, pronóstico, prevención, tratamiento e intervención clínica o quirúrgica, realizados sobre el cuerpo, comportamiento o muestras de uno o más animales, con objeto de restablecer la salud animal y proteger la salud de la ciudadanía de la República, actuando en la seguridad e inocuidad alimentaria y en la investigación, prevención, vigilancia, control o erradicación de enfermedades con posibles consecuencias directas o indirectas en la salud pública, con el fin de proteger y promover la salud y bienestar integral de las personas, animales y ambiente. </a:t>
            </a:r>
          </a:p>
          <a:p>
            <a:r>
              <a:rPr lang="es-MX" dirty="0"/>
              <a:t>		Asimismo, el ejercicio de esta profesión vela por la salud y bienestar animal en las cadenas productivas, bioterios y espacios que mantengan y gestionen animales, además de la inspección sanitaria de productos y subproductos de origen animal, con el objeto de controlar o erradicar enfermedades con posibles consecuencias en la salud pública.</a:t>
            </a:r>
          </a:p>
          <a:p>
            <a:r>
              <a:rPr lang="es-MX" dirty="0"/>
              <a:t>		La regulación del ejercicio de la medicina veterinaria en este código o sus reglamentos se referirá sólo a las intervenciones que tienen impacto en la salud humana.</a:t>
            </a:r>
          </a:p>
          <a:p>
            <a:endParaRPr lang="es-MX" dirty="0"/>
          </a:p>
          <a:p>
            <a:r>
              <a:rPr lang="es-MX" dirty="0"/>
              <a:t>Artículo 114º G.- El ejercicio de la nutrición comprende la ejecución de acciones de salud en el ámbito nutricional y dietético durante todo el ciclo de vida de individuos o grupos de personas, a través de la atención, evaluación y diagnóstico alimentario nutricional integrado; la consejería y educación alimentario-nutricional y lactancia materna; tratamiento dietético y </a:t>
            </a:r>
            <a:r>
              <a:rPr lang="es-MX" dirty="0" err="1"/>
              <a:t>dietoterapéutico</a:t>
            </a:r>
            <a:r>
              <a:rPr lang="es-MX" dirty="0"/>
              <a:t>; elaboración de minutas alimentarias; indicación </a:t>
            </a:r>
            <a:r>
              <a:rPr lang="es-MX" dirty="0" err="1"/>
              <a:t>dietoterapéutica</a:t>
            </a:r>
            <a:r>
              <a:rPr lang="es-MX" dirty="0"/>
              <a:t> y soporte nutricional enteral.</a:t>
            </a:r>
          </a:p>
          <a:p>
            <a:endParaRPr lang="es-MX" dirty="0"/>
          </a:p>
          <a:p>
            <a:r>
              <a:rPr lang="es-MX" dirty="0"/>
              <a:t>Artículo 114º H.- El ejercicio de la odontología, realizado por una o un cirujano dentista, comprende la ejecución de todos aquellos actos médicos relacionados con el diagnóstico, pronóstico, monitoreo, </a:t>
            </a:r>
            <a:r>
              <a:rPr lang="es-MX" dirty="0" err="1"/>
              <a:t>etapificación</a:t>
            </a:r>
            <a:r>
              <a:rPr lang="es-MX" dirty="0"/>
              <a:t>, intervenciones quirúrgicas, rehabilitación, tratamiento e indicación de actividades dirigidas a la promoción de la salud y prevención de enfermedades en las personas, familias y comunidades en el área odontoestomatológica; y, sus implicancias sistémicas y/o la evidencia de problemas sistémicos evidenciados en la misma área.</a:t>
            </a:r>
          </a:p>
          <a:p>
            <a:r>
              <a:rPr lang="es-MX" dirty="0"/>
              <a:t>		Los actos médico-odontológicos se ejecutarán sin perjuicio de aquellos que, de acuerdo con la normativa vigente, puedan ejecutar otros profesionales de la salud en el área odontoestomatológica.</a:t>
            </a:r>
          </a:p>
          <a:p>
            <a:r>
              <a:rPr lang="es-MX" dirty="0"/>
              <a:t>		El ejercicio de la odontología incluye la indicación de exámenes, otorgar reposo y licencias médicas, de conformidad a la normativa vigente. Asimismo, este contempla la odontología forense integrando equipos periciales.</a:t>
            </a:r>
          </a:p>
          <a:p>
            <a:endParaRPr lang="es-MX" dirty="0"/>
          </a:p>
          <a:p>
            <a:r>
              <a:rPr lang="es-MX" dirty="0"/>
              <a:t>Artículo 114º I.- El ejercicio de la psicología comprende la ejecución de acciones de salud mental, a través de la promoción de salud y prevención de enfermedades; diagnóstico psicológico y neuropsicológico; aplicación de instrumentos estandarizados o adaptados a las normas chilenas de evaluación psicológica y neuropsicológica; intervenciones psicológicas; psicoterapia de acuerdo con protocolos aprobados por resolución del Ministerio de Salud; rehabilitación psicológica y neuropsicológica; intervenciones psicológicas en situaciones de emergencias, crisis, desastres, catástrofes y /o experiencias traumáticas; con la finalidad de dar tratamiento o facilitar la disminución del malestar, dolor o sufrimiento psicológico y, por ende, contribuir al bienestar biopsicosocial de las personas, familias y comunidades, colaborando con los equipos asistenciales en materias de salud y, en particular, salud mental, velando por el autocuidado o cuidado de quienes integran estos equipos.</a:t>
            </a:r>
          </a:p>
          <a:p>
            <a:r>
              <a:rPr lang="es-MX" dirty="0"/>
              <a:t>		Cuando estos profesionales presten sus servicios a personas que evidencien la presencia de enfermedades o trastornos mentales y del comportamiento que requieran atención médica, deberán derivar a un profesional de la medicina con la especialidad pertinente de acuerdo con la normativa vigente. Con todo, la o él psicólogo podrá participar junto con el referido profesional de la medicina en la atención de las personas para su rehabilitación, si así se requiere.</a:t>
            </a:r>
          </a:p>
          <a:p>
            <a:endParaRPr lang="es-CL" dirty="0"/>
          </a:p>
        </p:txBody>
      </p:sp>
      <p:sp>
        <p:nvSpPr>
          <p:cNvPr id="4" name="Marcador de número de diapositiva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s-CL" sz="1200" b="0" i="0" u="none" strike="noStrike" cap="none" smtClean="0">
                <a:solidFill>
                  <a:schemeClr val="dk1"/>
                </a:solidFill>
                <a:latin typeface="Calibri"/>
                <a:ea typeface="Calibri"/>
                <a:cs typeface="Calibri"/>
                <a:sym typeface="Calibri"/>
              </a:rPr>
              <a:t>10</a:t>
            </a:fld>
            <a:endParaRPr lang="es-CL"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267216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orta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D10B83-DC68-9CB3-26B7-4BF431E64A98}"/>
              </a:ext>
            </a:extLst>
          </p:cNvPr>
          <p:cNvSpPr>
            <a:spLocks noGrp="1"/>
          </p:cNvSpPr>
          <p:nvPr>
            <p:ph type="title" hasCustomPrompt="1"/>
          </p:nvPr>
        </p:nvSpPr>
        <p:spPr>
          <a:xfrm>
            <a:off x="838200" y="1733253"/>
            <a:ext cx="10515600" cy="675412"/>
          </a:xfrm>
        </p:spPr>
        <p:txBody>
          <a:bodyPr>
            <a:normAutofit/>
          </a:bodyPr>
          <a:lstStyle>
            <a:lvl1pPr algn="ctr">
              <a:defRPr sz="3733" b="1" i="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s-MX" dirty="0"/>
              <a:t>TÍTULO DE PRESENTACIÓN</a:t>
            </a:r>
            <a:endParaRPr lang="es-CL" dirty="0"/>
          </a:p>
        </p:txBody>
      </p:sp>
      <p:sp>
        <p:nvSpPr>
          <p:cNvPr id="14" name="Marcador de texto 13">
            <a:extLst>
              <a:ext uri="{FF2B5EF4-FFF2-40B4-BE49-F238E27FC236}">
                <a16:creationId xmlns:a16="http://schemas.microsoft.com/office/drawing/2014/main" id="{4EF85A1B-74A0-E128-CE32-50B638FB7137}"/>
              </a:ext>
            </a:extLst>
          </p:cNvPr>
          <p:cNvSpPr>
            <a:spLocks noGrp="1"/>
          </p:cNvSpPr>
          <p:nvPr>
            <p:ph type="body" sz="quarter" idx="11" hasCustomPrompt="1"/>
          </p:nvPr>
        </p:nvSpPr>
        <p:spPr>
          <a:xfrm>
            <a:off x="2882214" y="2481753"/>
            <a:ext cx="6427575" cy="491905"/>
          </a:xfrm>
        </p:spPr>
        <p:txBody>
          <a:bodyPr>
            <a:noAutofit/>
          </a:bodyPr>
          <a:lstStyle>
            <a:lvl1pPr marL="0" indent="0" algn="ctr">
              <a:buNone/>
              <a:defRPr sz="2400">
                <a:solidFill>
                  <a:schemeClr val="bg1"/>
                </a:solidFill>
              </a:defRPr>
            </a:lvl1pPr>
          </a:lstStyle>
          <a:p>
            <a:pPr lvl="0"/>
            <a:r>
              <a:rPr lang="es-MX" dirty="0"/>
              <a:t>Bajada lorem ipsum dolor sit amet</a:t>
            </a:r>
            <a:endParaRPr lang="es-CL" dirty="0"/>
          </a:p>
        </p:txBody>
      </p:sp>
      <p:pic>
        <p:nvPicPr>
          <p:cNvPr id="4" name="Imagen 3">
            <a:extLst>
              <a:ext uri="{FF2B5EF4-FFF2-40B4-BE49-F238E27FC236}">
                <a16:creationId xmlns:a16="http://schemas.microsoft.com/office/drawing/2014/main" id="{9ACAE656-3445-4B3A-FBDE-08F375DFC581}"/>
              </a:ext>
            </a:extLst>
          </p:cNvPr>
          <p:cNvPicPr>
            <a:picLocks noChangeAspect="1"/>
          </p:cNvPicPr>
          <p:nvPr userDrawn="1"/>
        </p:nvPicPr>
        <p:blipFill>
          <a:blip r:embed="rId3"/>
          <a:stretch>
            <a:fillRect/>
          </a:stretch>
        </p:blipFill>
        <p:spPr>
          <a:xfrm>
            <a:off x="4388624" y="3983467"/>
            <a:ext cx="3414752" cy="1534565"/>
          </a:xfrm>
          <a:prstGeom prst="rect">
            <a:avLst/>
          </a:prstGeom>
        </p:spPr>
      </p:pic>
    </p:spTree>
    <p:extLst>
      <p:ext uri="{BB962C8B-B14F-4D97-AF65-F5344CB8AC3E}">
        <p14:creationId xmlns:p14="http://schemas.microsoft.com/office/powerpoint/2010/main" val="1951380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2_Imagen con título">
    <p:bg>
      <p:bgPr>
        <a:solidFill>
          <a:schemeClr val="bg2">
            <a:alpha val="3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2389717" y="4800600"/>
            <a:ext cx="7315200" cy="566739"/>
          </a:xfrm>
          <a:prstGeom prst="rect">
            <a:avLst/>
          </a:prstGeom>
        </p:spPr>
        <p:txBody>
          <a:bodyPr anchor="b"/>
          <a:lstStyle>
            <a:lvl1pPr algn="l">
              <a:defRPr sz="2667" b="1">
                <a:solidFill>
                  <a:srgbClr val="115C80"/>
                </a:solidFill>
              </a:defRPr>
            </a:lvl1pPr>
          </a:lstStyle>
          <a:p>
            <a:r>
              <a:rPr lang="es-ES_tradnl" dirty="0"/>
              <a:t>Clic para editar título</a:t>
            </a:r>
            <a:endParaRPr lang="es-ES" dirty="0"/>
          </a:p>
        </p:txBody>
      </p:sp>
      <p:sp>
        <p:nvSpPr>
          <p:cNvPr id="3" name="Marcador de posición de imagen 2"/>
          <p:cNvSpPr>
            <a:spLocks noGrp="1"/>
          </p:cNvSpPr>
          <p:nvPr>
            <p:ph type="pic" idx="1"/>
          </p:nvPr>
        </p:nvSpPr>
        <p:spPr>
          <a:xfrm>
            <a:off x="2389717" y="612775"/>
            <a:ext cx="7315200" cy="4114800"/>
          </a:xfrm>
          <a:prstGeom prst="rect">
            <a:avLst/>
          </a:prstGeom>
        </p:spPr>
        <p:txBody>
          <a:bodyPr/>
          <a:lstStyle>
            <a:lvl1pPr marL="0" indent="0">
              <a:buNone/>
              <a:defRPr sz="4267">
                <a:solidFill>
                  <a:schemeClr val="accent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s-ES" dirty="0"/>
          </a:p>
        </p:txBody>
      </p:sp>
      <p:sp>
        <p:nvSpPr>
          <p:cNvPr id="4" name="Marcador de texto 3"/>
          <p:cNvSpPr>
            <a:spLocks noGrp="1"/>
          </p:cNvSpPr>
          <p:nvPr>
            <p:ph type="body" sz="half" idx="2"/>
          </p:nvPr>
        </p:nvSpPr>
        <p:spPr>
          <a:xfrm>
            <a:off x="2389717" y="5367338"/>
            <a:ext cx="7315200" cy="804863"/>
          </a:xfrm>
          <a:prstGeom prst="rect">
            <a:avLst/>
          </a:prstGeom>
        </p:spPr>
        <p:txBody>
          <a:bodyPr/>
          <a:lstStyle>
            <a:lvl1pPr marL="0" indent="0">
              <a:buNone/>
              <a:defRPr sz="1867">
                <a:solidFill>
                  <a:schemeClr val="bg1">
                    <a:lumMod val="50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_tradnl" dirty="0"/>
              <a:t>Haga clic para modificar el estilo de texto del patrón</a:t>
            </a:r>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2"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pic>
        <p:nvPicPr>
          <p:cNvPr id="5" name="Imagen 4">
            <a:extLst>
              <a:ext uri="{FF2B5EF4-FFF2-40B4-BE49-F238E27FC236}">
                <a16:creationId xmlns:a16="http://schemas.microsoft.com/office/drawing/2014/main" id="{5995BFA3-5772-C10C-546F-3F6E8089862E}"/>
              </a:ext>
            </a:extLst>
          </p:cNvPr>
          <p:cNvPicPr>
            <a:picLocks noChangeAspect="1"/>
          </p:cNvPicPr>
          <p:nvPr userDrawn="1"/>
        </p:nvPicPr>
        <p:blipFill>
          <a:blip r:embed="rId2">
            <a:alphaModFix amt="50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914400" y="6278880"/>
            <a:ext cx="10363200" cy="442595"/>
          </a:xfrm>
          <a:prstGeom prst="rect">
            <a:avLst/>
          </a:prstGeom>
        </p:spPr>
      </p:pic>
      <p:pic>
        <p:nvPicPr>
          <p:cNvPr id="6" name="Imagen 5">
            <a:extLst>
              <a:ext uri="{FF2B5EF4-FFF2-40B4-BE49-F238E27FC236}">
                <a16:creationId xmlns:a16="http://schemas.microsoft.com/office/drawing/2014/main" id="{DC517091-3A9E-1D25-638B-EB38784AC686}"/>
              </a:ext>
            </a:extLst>
          </p:cNvPr>
          <p:cNvPicPr>
            <a:picLocks noChangeAspect="1"/>
          </p:cNvPicPr>
          <p:nvPr userDrawn="1"/>
        </p:nvPicPr>
        <p:blipFill>
          <a:blip r:embed="rId4"/>
          <a:srcRect/>
          <a:stretch/>
        </p:blipFill>
        <p:spPr>
          <a:xfrm>
            <a:off x="10852390" y="204768"/>
            <a:ext cx="1003189" cy="1003189"/>
          </a:xfrm>
          <a:prstGeom prst="rect">
            <a:avLst/>
          </a:prstGeom>
        </p:spPr>
      </p:pic>
    </p:spTree>
    <p:extLst>
      <p:ext uri="{BB962C8B-B14F-4D97-AF65-F5344CB8AC3E}">
        <p14:creationId xmlns:p14="http://schemas.microsoft.com/office/powerpoint/2010/main" val="146077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1_Imagen con título">
    <p:bg>
      <p:bgPr>
        <a:solidFill>
          <a:srgbClr val="0B4581"/>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2389717" y="4800600"/>
            <a:ext cx="7315200" cy="566739"/>
          </a:xfrm>
          <a:prstGeom prst="rect">
            <a:avLst/>
          </a:prstGeom>
        </p:spPr>
        <p:txBody>
          <a:bodyPr anchor="b"/>
          <a:lstStyle>
            <a:lvl1pPr algn="l">
              <a:defRPr sz="2667" b="1">
                <a:solidFill>
                  <a:srgbClr val="FFFFFF"/>
                </a:solidFill>
              </a:defRPr>
            </a:lvl1pPr>
          </a:lstStyle>
          <a:p>
            <a:r>
              <a:rPr lang="es-ES_tradnl" dirty="0"/>
              <a:t>Clic para editar título</a:t>
            </a:r>
            <a:endParaRPr lang="es-ES" dirty="0"/>
          </a:p>
        </p:txBody>
      </p:sp>
      <p:sp>
        <p:nvSpPr>
          <p:cNvPr id="3" name="Marcador de posición de imagen 2"/>
          <p:cNvSpPr>
            <a:spLocks noGrp="1"/>
          </p:cNvSpPr>
          <p:nvPr>
            <p:ph type="pic" idx="1"/>
          </p:nvPr>
        </p:nvSpPr>
        <p:spPr>
          <a:xfrm>
            <a:off x="2389717" y="612775"/>
            <a:ext cx="7315200" cy="4114800"/>
          </a:xfrm>
          <a:prstGeom prst="rect">
            <a:avLst/>
          </a:prstGeom>
        </p:spPr>
        <p:txBody>
          <a:bodyPr/>
          <a:lstStyle>
            <a:lvl1pPr marL="0" indent="0">
              <a:buNone/>
              <a:defRPr sz="4267">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s-ES"/>
          </a:p>
        </p:txBody>
      </p:sp>
      <p:sp>
        <p:nvSpPr>
          <p:cNvPr id="4" name="Marcador de texto 3"/>
          <p:cNvSpPr>
            <a:spLocks noGrp="1"/>
          </p:cNvSpPr>
          <p:nvPr>
            <p:ph type="body" sz="half" idx="2"/>
          </p:nvPr>
        </p:nvSpPr>
        <p:spPr>
          <a:xfrm>
            <a:off x="2389717" y="5367338"/>
            <a:ext cx="7315200" cy="804863"/>
          </a:xfrm>
          <a:prstGeom prst="rect">
            <a:avLst/>
          </a:prstGeom>
        </p:spPr>
        <p:txBody>
          <a:bodyPr/>
          <a:lstStyle>
            <a:lvl1pPr marL="0" indent="0">
              <a:buNone/>
              <a:defRPr sz="1867">
                <a:solidFill>
                  <a:srgbClr val="EEECE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_tradnl" dirty="0"/>
              <a:t>Haga clic para modificar el estilo de texto del patrón</a:t>
            </a:r>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6"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2"/>
                </a:solidFill>
              </a:defRPr>
            </a:lvl1pPr>
          </a:lstStyle>
          <a:p>
            <a:fld id="{758EF458-5B7C-9F44-BB09-A6316498C081}" type="slidenum">
              <a:rPr lang="es-ES" smtClean="0"/>
              <a:pPr/>
              <a:t>‹Nº›</a:t>
            </a:fld>
            <a:endParaRPr lang="es-ES"/>
          </a:p>
        </p:txBody>
      </p:sp>
      <p:pic>
        <p:nvPicPr>
          <p:cNvPr id="5" name="Imagen 4">
            <a:extLst>
              <a:ext uri="{FF2B5EF4-FFF2-40B4-BE49-F238E27FC236}">
                <a16:creationId xmlns:a16="http://schemas.microsoft.com/office/drawing/2014/main" id="{7E5DAB4E-AF11-8B33-C31E-AF1BBEECD272}"/>
              </a:ext>
            </a:extLst>
          </p:cNvPr>
          <p:cNvPicPr>
            <a:picLocks noChangeAspect="1"/>
          </p:cNvPicPr>
          <p:nvPr userDrawn="1"/>
        </p:nvPicPr>
        <p:blipFill>
          <a:blip r:embed="rId2">
            <a:duotone>
              <a:prstClr val="black"/>
              <a:schemeClr val="accent1">
                <a:tint val="45000"/>
                <a:satMod val="400000"/>
              </a:schemeClr>
            </a:duotone>
            <a:alphaModFix amt="35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914400" y="6278880"/>
            <a:ext cx="10363200" cy="442595"/>
          </a:xfrm>
          <a:prstGeom prst="rect">
            <a:avLst/>
          </a:prstGeom>
        </p:spPr>
      </p:pic>
      <p:pic>
        <p:nvPicPr>
          <p:cNvPr id="6" name="Imagen 5">
            <a:extLst>
              <a:ext uri="{FF2B5EF4-FFF2-40B4-BE49-F238E27FC236}">
                <a16:creationId xmlns:a16="http://schemas.microsoft.com/office/drawing/2014/main" id="{704FF3BA-5837-0D25-5C97-9654BAB91A15}"/>
              </a:ext>
            </a:extLst>
          </p:cNvPr>
          <p:cNvPicPr>
            <a:picLocks noChangeAspect="1"/>
          </p:cNvPicPr>
          <p:nvPr userDrawn="1"/>
        </p:nvPicPr>
        <p:blipFill>
          <a:blip r:embed="rId4"/>
          <a:srcRect/>
          <a:stretch/>
        </p:blipFill>
        <p:spPr>
          <a:xfrm>
            <a:off x="10852390" y="206535"/>
            <a:ext cx="1003189" cy="999656"/>
          </a:xfrm>
          <a:prstGeom prst="rect">
            <a:avLst/>
          </a:prstGeom>
        </p:spPr>
      </p:pic>
    </p:spTree>
    <p:extLst>
      <p:ext uri="{BB962C8B-B14F-4D97-AF65-F5344CB8AC3E}">
        <p14:creationId xmlns:p14="http://schemas.microsoft.com/office/powerpoint/2010/main" val="30842797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3_Imagen con título">
    <p:bg>
      <p:bgPr>
        <a:solidFill>
          <a:schemeClr val="accent5">
            <a:alpha val="4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2389717" y="4800600"/>
            <a:ext cx="7315200" cy="566739"/>
          </a:xfrm>
          <a:prstGeom prst="rect">
            <a:avLst/>
          </a:prstGeom>
        </p:spPr>
        <p:txBody>
          <a:bodyPr anchor="b"/>
          <a:lstStyle>
            <a:lvl1pPr algn="l">
              <a:defRPr sz="2667" b="1">
                <a:solidFill>
                  <a:srgbClr val="0B4581"/>
                </a:solidFill>
              </a:defRPr>
            </a:lvl1pPr>
          </a:lstStyle>
          <a:p>
            <a:r>
              <a:rPr lang="es-ES_tradnl" dirty="0"/>
              <a:t>Clic para editar título</a:t>
            </a:r>
            <a:endParaRPr lang="es-ES" dirty="0"/>
          </a:p>
        </p:txBody>
      </p:sp>
      <p:sp>
        <p:nvSpPr>
          <p:cNvPr id="3" name="Marcador de posición de imagen 2"/>
          <p:cNvSpPr>
            <a:spLocks noGrp="1"/>
          </p:cNvSpPr>
          <p:nvPr>
            <p:ph type="pic" idx="1"/>
          </p:nvPr>
        </p:nvSpPr>
        <p:spPr>
          <a:xfrm>
            <a:off x="2389717" y="612775"/>
            <a:ext cx="7315200" cy="4114800"/>
          </a:xfrm>
          <a:prstGeom prst="rect">
            <a:avLst/>
          </a:prstGeom>
        </p:spPr>
        <p:txBody>
          <a:bodyPr/>
          <a:lstStyle>
            <a:lvl1pPr marL="0" indent="0">
              <a:buNone/>
              <a:defRPr sz="4267">
                <a:solidFill>
                  <a:srgbClr val="0B458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s-ES"/>
          </a:p>
        </p:txBody>
      </p:sp>
      <p:sp>
        <p:nvSpPr>
          <p:cNvPr id="4" name="Marcador de texto 3"/>
          <p:cNvSpPr>
            <a:spLocks noGrp="1"/>
          </p:cNvSpPr>
          <p:nvPr>
            <p:ph type="body" sz="half" idx="2"/>
          </p:nvPr>
        </p:nvSpPr>
        <p:spPr>
          <a:xfrm>
            <a:off x="2389717" y="5367338"/>
            <a:ext cx="7315200" cy="804863"/>
          </a:xfrm>
          <a:prstGeom prst="rect">
            <a:avLst/>
          </a:prstGeom>
        </p:spPr>
        <p:txBody>
          <a:bodyPr/>
          <a:lstStyle>
            <a:lvl1pPr marL="0" indent="0">
              <a:buNone/>
              <a:defRPr sz="1867">
                <a:solidFill>
                  <a:srgbClr val="62636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_tradnl" dirty="0"/>
              <a:t>Haga clic para modificar el estilo de texto del patrón</a:t>
            </a:r>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7"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2"/>
                </a:solidFill>
              </a:defRPr>
            </a:lvl1pPr>
          </a:lstStyle>
          <a:p>
            <a:fld id="{758EF458-5B7C-9F44-BB09-A6316498C081}" type="slidenum">
              <a:rPr lang="es-ES" smtClean="0"/>
              <a:pPr/>
              <a:t>‹Nº›</a:t>
            </a:fld>
            <a:endParaRPr lang="es-ES"/>
          </a:p>
        </p:txBody>
      </p:sp>
      <p:pic>
        <p:nvPicPr>
          <p:cNvPr id="5" name="Imagen 4">
            <a:extLst>
              <a:ext uri="{FF2B5EF4-FFF2-40B4-BE49-F238E27FC236}">
                <a16:creationId xmlns:a16="http://schemas.microsoft.com/office/drawing/2014/main" id="{FD50D9FC-95A1-2CA6-AB9C-6C7360136635}"/>
              </a:ext>
            </a:extLst>
          </p:cNvPr>
          <p:cNvPicPr>
            <a:picLocks noChangeAspect="1"/>
          </p:cNvPicPr>
          <p:nvPr userDrawn="1"/>
        </p:nvPicPr>
        <p:blipFill>
          <a:blip r:embed="rId2">
            <a:alphaModFix amt="50000"/>
            <a:biLevel thresh="25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914400" y="6278880"/>
            <a:ext cx="10363200" cy="442595"/>
          </a:xfrm>
          <a:prstGeom prst="rect">
            <a:avLst/>
          </a:prstGeom>
        </p:spPr>
      </p:pic>
      <p:pic>
        <p:nvPicPr>
          <p:cNvPr id="6" name="Imagen 5">
            <a:extLst>
              <a:ext uri="{FF2B5EF4-FFF2-40B4-BE49-F238E27FC236}">
                <a16:creationId xmlns:a16="http://schemas.microsoft.com/office/drawing/2014/main" id="{C2D1799B-9CC0-243C-82FD-DEF06B7B1624}"/>
              </a:ext>
            </a:extLst>
          </p:cNvPr>
          <p:cNvPicPr>
            <a:picLocks noChangeAspect="1"/>
          </p:cNvPicPr>
          <p:nvPr userDrawn="1"/>
        </p:nvPicPr>
        <p:blipFill>
          <a:blip r:embed="rId4"/>
          <a:srcRect/>
          <a:stretch/>
        </p:blipFill>
        <p:spPr>
          <a:xfrm>
            <a:off x="10852390" y="204768"/>
            <a:ext cx="1003189" cy="1003189"/>
          </a:xfrm>
          <a:prstGeom prst="rect">
            <a:avLst/>
          </a:prstGeom>
        </p:spPr>
      </p:pic>
    </p:spTree>
    <p:extLst>
      <p:ext uri="{BB962C8B-B14F-4D97-AF65-F5344CB8AC3E}">
        <p14:creationId xmlns:p14="http://schemas.microsoft.com/office/powerpoint/2010/main" val="5118563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Cier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9E659084-D5E4-FEF3-86F9-551DA68C541B}"/>
              </a:ext>
            </a:extLst>
          </p:cNvPr>
          <p:cNvPicPr>
            <a:picLocks noChangeAspect="1"/>
          </p:cNvPicPr>
          <p:nvPr userDrawn="1"/>
        </p:nvPicPr>
        <p:blipFill>
          <a:blip r:embed="rId3"/>
          <a:stretch>
            <a:fillRect/>
          </a:stretch>
        </p:blipFill>
        <p:spPr>
          <a:xfrm>
            <a:off x="4004734" y="2177615"/>
            <a:ext cx="4182533" cy="1879600"/>
          </a:xfrm>
          <a:prstGeom prst="rect">
            <a:avLst/>
          </a:prstGeom>
        </p:spPr>
      </p:pic>
    </p:spTree>
    <p:extLst>
      <p:ext uri="{BB962C8B-B14F-4D97-AF65-F5344CB8AC3E}">
        <p14:creationId xmlns:p14="http://schemas.microsoft.com/office/powerpoint/2010/main" val="5301364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Diapositiva de título" type="title" preserve="1">
  <p:cSld name="1_Diapositiva de título">
    <p:spTree>
      <p:nvGrpSpPr>
        <p:cNvPr id="1" name="Shape 15"/>
        <p:cNvGrpSpPr/>
        <p:nvPr/>
      </p:nvGrpSpPr>
      <p:grpSpPr>
        <a:xfrm>
          <a:off x="0" y="0"/>
          <a:ext cx="0" cy="0"/>
          <a:chOff x="0" y="0"/>
          <a:chExt cx="0" cy="0"/>
        </a:xfrm>
      </p:grpSpPr>
      <p:sp>
        <p:nvSpPr>
          <p:cNvPr id="16" name="Google Shape;16;p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8"/>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8"/>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8"/>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s-CL" smtClean="0"/>
              <a:pPr/>
              <a:t>‹Nº›</a:t>
            </a:fld>
            <a:endParaRPr lang="es-CL"/>
          </a:p>
        </p:txBody>
      </p:sp>
    </p:spTree>
    <p:extLst>
      <p:ext uri="{BB962C8B-B14F-4D97-AF65-F5344CB8AC3E}">
        <p14:creationId xmlns:p14="http://schemas.microsoft.com/office/powerpoint/2010/main" val="2130985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BE9BA05-0B29-4EDC-AC41-3BEB59306BA0}"/>
              </a:ext>
            </a:extLst>
          </p:cNvPr>
          <p:cNvGraphicFramePr>
            <a:graphicFrameLocks noChangeAspect="1"/>
          </p:cNvGraphicFramePr>
          <p:nvPr userDrawn="1">
            <p:custDataLst>
              <p:tags r:id="rId1"/>
            </p:custData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name="Diapositiva de think-cell" r:id="rId3" imgW="415" imgH="416" progId="TCLayout.ActiveDocument.1">
                  <p:embed/>
                </p:oleObj>
              </mc:Choice>
              <mc:Fallback>
                <p:oleObj name="Diapositiva de think-cell" r:id="rId3" imgW="415" imgH="416" progId="TCLayout.ActiveDocument.1">
                  <p:embed/>
                  <p:pic>
                    <p:nvPicPr>
                      <p:cNvPr id="2" name="Objeto 1" hidden="1">
                        <a:extLst>
                          <a:ext uri="{FF2B5EF4-FFF2-40B4-BE49-F238E27FC236}">
                            <a16:creationId xmlns:a16="http://schemas.microsoft.com/office/drawing/2014/main" id="{6BE9BA05-0B29-4EDC-AC41-3BEB59306BA0}"/>
                          </a:ext>
                        </a:extLst>
                      </p:cNvPr>
                      <p:cNvPicPr/>
                      <p:nvPr/>
                    </p:nvPicPr>
                    <p:blipFill>
                      <a:blip r:embed="rId4"/>
                      <a:stretch>
                        <a:fillRect/>
                      </a:stretch>
                    </p:blipFill>
                    <p:spPr>
                      <a:xfrm>
                        <a:off x="2121" y="1591"/>
                        <a:ext cx="2116" cy="1587"/>
                      </a:xfrm>
                      <a:prstGeom prst="rect">
                        <a:avLst/>
                      </a:prstGeom>
                    </p:spPr>
                  </p:pic>
                </p:oleObj>
              </mc:Fallback>
            </mc:AlternateContent>
          </a:graphicData>
        </a:graphic>
      </p:graphicFrame>
      <p:sp>
        <p:nvSpPr>
          <p:cNvPr id="4" name="McK 2. Slide Title"/>
          <p:cNvSpPr>
            <a:spLocks noGrp="1" noChangeArrowheads="1"/>
          </p:cNvSpPr>
          <p:nvPr>
            <p:ph type="title" hasCustomPrompt="1"/>
          </p:nvPr>
        </p:nvSpPr>
        <p:spPr bwMode="auto">
          <a:xfrm>
            <a:off x="475617" y="224063"/>
            <a:ext cx="9690483" cy="60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s-CL" noProof="0"/>
              <a:t>Click to edit Master title style</a:t>
            </a:r>
            <a:endParaRPr lang="es-CL" noProof="0" dirty="0"/>
          </a:p>
        </p:txBody>
      </p:sp>
      <p:sp>
        <p:nvSpPr>
          <p:cNvPr id="3" name="195 Marcador de número de diapositiva">
            <a:extLst>
              <a:ext uri="{FF2B5EF4-FFF2-40B4-BE49-F238E27FC236}">
                <a16:creationId xmlns:a16="http://schemas.microsoft.com/office/drawing/2014/main" id="{37FDE452-4366-4E41-B31C-3C8971D71D1A}"/>
              </a:ext>
            </a:extLst>
          </p:cNvPr>
          <p:cNvSpPr>
            <a:spLocks noGrp="1"/>
          </p:cNvSpPr>
          <p:nvPr>
            <p:ph type="sldNum" sz="quarter" idx="4"/>
          </p:nvPr>
        </p:nvSpPr>
        <p:spPr>
          <a:xfrm>
            <a:off x="11697989" y="6609104"/>
            <a:ext cx="2844800" cy="365125"/>
          </a:xfrm>
          <a:prstGeom prst="rect">
            <a:avLst/>
          </a:prstGeom>
        </p:spPr>
        <p:txBody>
          <a:bodyPr/>
          <a:lstStyle>
            <a:lvl1pPr>
              <a:defRPr sz="900" baseline="0">
                <a:solidFill>
                  <a:schemeClr val="bg1"/>
                </a:solidFill>
                <a:latin typeface="Arial" panose="020B0604020202020204" pitchFamily="34" charset="0"/>
                <a:cs typeface="Arial" panose="020B0604020202020204" pitchFamily="34" charset="0"/>
              </a:defRPr>
            </a:lvl1pPr>
          </a:lstStyle>
          <a:p>
            <a:fld id="{7536BA00-E649-495D-B82A-3219CB1D2429}" type="slidenum">
              <a:rPr lang="es-CL" smtClean="0"/>
              <a:pPr/>
              <a:t>‹Nº›</a:t>
            </a:fld>
            <a:endParaRPr lang="es-CL" dirty="0"/>
          </a:p>
        </p:txBody>
      </p:sp>
    </p:spTree>
    <p:extLst>
      <p:ext uri="{BB962C8B-B14F-4D97-AF65-F5344CB8AC3E}">
        <p14:creationId xmlns:p14="http://schemas.microsoft.com/office/powerpoint/2010/main" val="23292603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Marcador de número de diapositiva 5">
            <a:extLst>
              <a:ext uri="{FF2B5EF4-FFF2-40B4-BE49-F238E27FC236}">
                <a16:creationId xmlns:a16="http://schemas.microsoft.com/office/drawing/2014/main" id="{27302863-7C93-4652-ABFA-C76B3E59F530}"/>
              </a:ext>
            </a:extLst>
          </p:cNvPr>
          <p:cNvSpPr>
            <a:spLocks noGrp="1"/>
          </p:cNvSpPr>
          <p:nvPr>
            <p:ph type="sldNum" sz="quarter" idx="4"/>
          </p:nvPr>
        </p:nvSpPr>
        <p:spPr>
          <a:xfrm>
            <a:off x="9316000" y="6473347"/>
            <a:ext cx="2743200" cy="366183"/>
          </a:xfrm>
          <a:prstGeom prst="rect">
            <a:avLst/>
          </a:prstGeom>
        </p:spPr>
        <p:txBody>
          <a:bodyPr vert="horz" lIns="91440" tIns="45720" rIns="91440" bIns="45720" rtlCol="0" anchor="ctr"/>
          <a:lstStyle>
            <a:lvl1pPr algn="r">
              <a:defRPr sz="1333">
                <a:solidFill>
                  <a:schemeClr val="tx1">
                    <a:tint val="75000"/>
                  </a:schemeClr>
                </a:solidFill>
                <a:latin typeface="Candara" panose="020E0502030303020204" pitchFamily="34" charset="0"/>
              </a:defRPr>
            </a:lvl1pPr>
          </a:lstStyle>
          <a:p>
            <a:fld id="{5E10838F-9F77-44FD-A9AF-8F7B74B74566}" type="slidenum">
              <a:rPr lang="es-MX" smtClean="0">
                <a:solidFill>
                  <a:prstClr val="black">
                    <a:tint val="75000"/>
                  </a:prstClr>
                </a:solidFill>
              </a:rPr>
              <a:pPr/>
              <a:t>‹Nº›</a:t>
            </a:fld>
            <a:endParaRPr lang="es-MX">
              <a:solidFill>
                <a:prstClr val="black">
                  <a:tint val="75000"/>
                </a:prstClr>
              </a:solidFill>
            </a:endParaRPr>
          </a:p>
        </p:txBody>
      </p:sp>
      <p:cxnSp>
        <p:nvCxnSpPr>
          <p:cNvPr id="10" name="10 Conector recto">
            <a:extLst>
              <a:ext uri="{FF2B5EF4-FFF2-40B4-BE49-F238E27FC236}">
                <a16:creationId xmlns:a16="http://schemas.microsoft.com/office/drawing/2014/main" id="{DA2B6C81-A038-44C3-89B8-A2BD5FF623F4}"/>
              </a:ext>
            </a:extLst>
          </p:cNvPr>
          <p:cNvCxnSpPr/>
          <p:nvPr userDrawn="1"/>
        </p:nvCxnSpPr>
        <p:spPr>
          <a:xfrm>
            <a:off x="336000" y="1062355"/>
            <a:ext cx="11520000" cy="0"/>
          </a:xfrm>
          <a:prstGeom prst="line">
            <a:avLst/>
          </a:prstGeom>
          <a:ln w="19050" cmpd="sng">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EC008A5D-F310-4C06-8FE7-AE8687EEBCB6}"/>
              </a:ext>
            </a:extLst>
          </p:cNvPr>
          <p:cNvSpPr txBox="1">
            <a:spLocks/>
          </p:cNvSpPr>
          <p:nvPr userDrawn="1"/>
        </p:nvSpPr>
        <p:spPr>
          <a:xfrm>
            <a:off x="411177" y="81692"/>
            <a:ext cx="11658999" cy="692616"/>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1">
                    <a:lumMod val="50000"/>
                  </a:schemeClr>
                </a:solidFill>
                <a:latin typeface="Candara" panose="020E0502030303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1">
                    <a:lumMod val="50000"/>
                  </a:schemeClr>
                </a:solidFill>
                <a:latin typeface="Candara" panose="020E0502030303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accent1">
                    <a:lumMod val="50000"/>
                  </a:schemeClr>
                </a:solidFill>
                <a:latin typeface="Candara" panose="020E0502030303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1">
                    <a:lumMod val="50000"/>
                  </a:schemeClr>
                </a:solidFill>
                <a:latin typeface="Candara" panose="020E0502030303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accent1">
                    <a:lumMod val="50000"/>
                  </a:schemeClr>
                </a:solidFill>
                <a:latin typeface="Candara" panose="020E05020303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endParaRPr lang="es-CL" sz="2933" kern="0" dirty="0">
              <a:solidFill>
                <a:srgbClr val="0070C0"/>
              </a:solidFill>
              <a:latin typeface="Calibri"/>
              <a:cs typeface="Calibri Light" panose="020F0302020204030204" pitchFamily="34" charset="0"/>
            </a:endParaRPr>
          </a:p>
        </p:txBody>
      </p:sp>
    </p:spTree>
    <p:extLst>
      <p:ext uri="{BB962C8B-B14F-4D97-AF65-F5344CB8AC3E}">
        <p14:creationId xmlns:p14="http://schemas.microsoft.com/office/powerpoint/2010/main" val="187467832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18"/>
        <p:cNvGrpSpPr/>
        <p:nvPr/>
      </p:nvGrpSpPr>
      <p:grpSpPr>
        <a:xfrm>
          <a:off x="0" y="0"/>
          <a:ext cx="0" cy="0"/>
          <a:chOff x="0" y="0"/>
          <a:chExt cx="0" cy="0"/>
        </a:xfrm>
      </p:grpSpPr>
      <p:sp>
        <p:nvSpPr>
          <p:cNvPr id="19" name="Google Shape;19;p3"/>
          <p:cNvSpPr txBox="1">
            <a:spLocks noGrp="1"/>
          </p:cNvSpPr>
          <p:nvPr>
            <p:ph type="sldNum" idx="12"/>
          </p:nvPr>
        </p:nvSpPr>
        <p:spPr>
          <a:xfrm>
            <a:off x="8244417" y="6527800"/>
            <a:ext cx="2844800" cy="1936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333" b="0" i="0" u="none" strike="noStrike" cap="none">
                <a:solidFill>
                  <a:srgbClr val="898989"/>
                </a:solidFill>
                <a:latin typeface="Verdana"/>
                <a:ea typeface="Verdana"/>
                <a:cs typeface="Verdana"/>
                <a:sym typeface="Verdana"/>
              </a:defRPr>
            </a:lvl1pPr>
            <a:lvl2pPr marL="0" marR="0" lvl="1" indent="0" algn="r" rtl="0">
              <a:spcBef>
                <a:spcPts val="0"/>
              </a:spcBef>
              <a:spcAft>
                <a:spcPts val="0"/>
              </a:spcAft>
              <a:buNone/>
              <a:defRPr sz="1333" b="0" i="0" u="none" strike="noStrike" cap="none">
                <a:solidFill>
                  <a:srgbClr val="898989"/>
                </a:solidFill>
                <a:latin typeface="Verdana"/>
                <a:ea typeface="Verdana"/>
                <a:cs typeface="Verdana"/>
                <a:sym typeface="Verdana"/>
              </a:defRPr>
            </a:lvl2pPr>
            <a:lvl3pPr marL="0" marR="0" lvl="2" indent="0" algn="r" rtl="0">
              <a:spcBef>
                <a:spcPts val="0"/>
              </a:spcBef>
              <a:spcAft>
                <a:spcPts val="0"/>
              </a:spcAft>
              <a:buNone/>
              <a:defRPr sz="1333" b="0" i="0" u="none" strike="noStrike" cap="none">
                <a:solidFill>
                  <a:srgbClr val="898989"/>
                </a:solidFill>
                <a:latin typeface="Verdana"/>
                <a:ea typeface="Verdana"/>
                <a:cs typeface="Verdana"/>
                <a:sym typeface="Verdana"/>
              </a:defRPr>
            </a:lvl3pPr>
            <a:lvl4pPr marL="0" marR="0" lvl="3" indent="0" algn="r" rtl="0">
              <a:spcBef>
                <a:spcPts val="0"/>
              </a:spcBef>
              <a:spcAft>
                <a:spcPts val="0"/>
              </a:spcAft>
              <a:buNone/>
              <a:defRPr sz="1333" b="0" i="0" u="none" strike="noStrike" cap="none">
                <a:solidFill>
                  <a:srgbClr val="898989"/>
                </a:solidFill>
                <a:latin typeface="Verdana"/>
                <a:ea typeface="Verdana"/>
                <a:cs typeface="Verdana"/>
                <a:sym typeface="Verdana"/>
              </a:defRPr>
            </a:lvl4pPr>
            <a:lvl5pPr marL="0" marR="0" lvl="4" indent="0" algn="r" rtl="0">
              <a:spcBef>
                <a:spcPts val="0"/>
              </a:spcBef>
              <a:spcAft>
                <a:spcPts val="0"/>
              </a:spcAft>
              <a:buNone/>
              <a:defRPr sz="1333" b="0" i="0" u="none" strike="noStrike" cap="none">
                <a:solidFill>
                  <a:srgbClr val="898989"/>
                </a:solidFill>
                <a:latin typeface="Verdana"/>
                <a:ea typeface="Verdana"/>
                <a:cs typeface="Verdana"/>
                <a:sym typeface="Verdana"/>
              </a:defRPr>
            </a:lvl5pPr>
            <a:lvl6pPr marL="0" marR="0" lvl="5" indent="0" algn="r" rtl="0">
              <a:spcBef>
                <a:spcPts val="0"/>
              </a:spcBef>
              <a:spcAft>
                <a:spcPts val="0"/>
              </a:spcAft>
              <a:buNone/>
              <a:defRPr sz="1333" b="0" i="0" u="none" strike="noStrike" cap="none">
                <a:solidFill>
                  <a:srgbClr val="898989"/>
                </a:solidFill>
                <a:latin typeface="Verdana"/>
                <a:ea typeface="Verdana"/>
                <a:cs typeface="Verdana"/>
                <a:sym typeface="Verdana"/>
              </a:defRPr>
            </a:lvl6pPr>
            <a:lvl7pPr marL="0" marR="0" lvl="6" indent="0" algn="r" rtl="0">
              <a:spcBef>
                <a:spcPts val="0"/>
              </a:spcBef>
              <a:spcAft>
                <a:spcPts val="0"/>
              </a:spcAft>
              <a:buNone/>
              <a:defRPr sz="1333" b="0" i="0" u="none" strike="noStrike" cap="none">
                <a:solidFill>
                  <a:srgbClr val="898989"/>
                </a:solidFill>
                <a:latin typeface="Verdana"/>
                <a:ea typeface="Verdana"/>
                <a:cs typeface="Verdana"/>
                <a:sym typeface="Verdana"/>
              </a:defRPr>
            </a:lvl7pPr>
            <a:lvl8pPr marL="0" marR="0" lvl="7" indent="0" algn="r" rtl="0">
              <a:spcBef>
                <a:spcPts val="0"/>
              </a:spcBef>
              <a:spcAft>
                <a:spcPts val="0"/>
              </a:spcAft>
              <a:buNone/>
              <a:defRPr sz="1333" b="0" i="0" u="none" strike="noStrike" cap="none">
                <a:solidFill>
                  <a:srgbClr val="898989"/>
                </a:solidFill>
                <a:latin typeface="Verdana"/>
                <a:ea typeface="Verdana"/>
                <a:cs typeface="Verdana"/>
                <a:sym typeface="Verdana"/>
              </a:defRPr>
            </a:lvl8pPr>
            <a:lvl9pPr marL="0" marR="0" lvl="8" indent="0" algn="r" rtl="0">
              <a:spcBef>
                <a:spcPts val="0"/>
              </a:spcBef>
              <a:spcAft>
                <a:spcPts val="0"/>
              </a:spcAft>
              <a:buNone/>
              <a:defRPr sz="1333" b="0" i="0" u="none" strike="noStrike" cap="none">
                <a:solidFill>
                  <a:srgbClr val="898989"/>
                </a:solidFill>
                <a:latin typeface="Verdana"/>
                <a:ea typeface="Verdana"/>
                <a:cs typeface="Verdana"/>
                <a:sym typeface="Verdana"/>
              </a:defRPr>
            </a:lvl9pPr>
          </a:lstStyle>
          <a:p>
            <a:fld id="{00000000-1234-1234-1234-123412341234}" type="slidenum">
              <a:rPr lang="es-CL" smtClean="0"/>
              <a:pPr/>
              <a:t>‹Nº›</a:t>
            </a:fld>
            <a:endParaRPr lang="es-CL"/>
          </a:p>
        </p:txBody>
      </p:sp>
    </p:spTree>
    <p:extLst>
      <p:ext uri="{BB962C8B-B14F-4D97-AF65-F5344CB8AC3E}">
        <p14:creationId xmlns:p14="http://schemas.microsoft.com/office/powerpoint/2010/main" val="20116379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iapositiva de título" type="title">
  <p:cSld name="TITLE">
    <p:spTree>
      <p:nvGrpSpPr>
        <p:cNvPr id="1" name="Shape 15"/>
        <p:cNvGrpSpPr/>
        <p:nvPr/>
      </p:nvGrpSpPr>
      <p:grpSpPr>
        <a:xfrm>
          <a:off x="0" y="0"/>
          <a:ext cx="0" cy="0"/>
          <a:chOff x="0" y="0"/>
          <a:chExt cx="0" cy="0"/>
        </a:xfrm>
      </p:grpSpPr>
      <p:sp>
        <p:nvSpPr>
          <p:cNvPr id="16" name="Google Shape;16;p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ncabezado de sección" type="secHead">
  <p:cSld name="SECTION_HEADER">
    <p:spTree>
      <p:nvGrpSpPr>
        <p:cNvPr id="1" name="Shape 27"/>
        <p:cNvGrpSpPr/>
        <p:nvPr/>
      </p:nvGrpSpPr>
      <p:grpSpPr>
        <a:xfrm>
          <a:off x="0" y="0"/>
          <a:ext cx="0" cy="0"/>
          <a:chOff x="0" y="0"/>
          <a:chExt cx="0" cy="0"/>
        </a:xfrm>
      </p:grpSpPr>
      <p:sp>
        <p:nvSpPr>
          <p:cNvPr id="28" name="Google Shape;28;p10"/>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10"/>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0" name="Google Shape;30;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Portadill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D10B83-DC68-9CB3-26B7-4BF431E64A98}"/>
              </a:ext>
            </a:extLst>
          </p:cNvPr>
          <p:cNvSpPr>
            <a:spLocks noGrp="1"/>
          </p:cNvSpPr>
          <p:nvPr>
            <p:ph type="title" hasCustomPrompt="1"/>
          </p:nvPr>
        </p:nvSpPr>
        <p:spPr>
          <a:xfrm>
            <a:off x="838200" y="3010145"/>
            <a:ext cx="10515600" cy="837711"/>
          </a:xfrm>
        </p:spPr>
        <p:txBody>
          <a:bodyPr>
            <a:normAutofit/>
          </a:bodyPr>
          <a:lstStyle>
            <a:lvl1pPr algn="ctr">
              <a:defRPr sz="4600" b="1" i="0">
                <a:solidFill>
                  <a:srgbClr val="0B4581"/>
                </a:solidFill>
                <a:latin typeface="Verdana" panose="020B0604030504040204" pitchFamily="34" charset="0"/>
                <a:ea typeface="Verdana" panose="020B0604030504040204" pitchFamily="34" charset="0"/>
                <a:cs typeface="Verdana" panose="020B0604030504040204" pitchFamily="34" charset="0"/>
              </a:defRPr>
            </a:lvl1pPr>
          </a:lstStyle>
          <a:p>
            <a:r>
              <a:rPr lang="es-MX" dirty="0"/>
              <a:t>Título de lámina</a:t>
            </a:r>
            <a:endParaRPr lang="es-CL" dirty="0"/>
          </a:p>
        </p:txBody>
      </p:sp>
      <p:sp>
        <p:nvSpPr>
          <p:cNvPr id="14" name="Marcador de texto 13">
            <a:extLst>
              <a:ext uri="{FF2B5EF4-FFF2-40B4-BE49-F238E27FC236}">
                <a16:creationId xmlns:a16="http://schemas.microsoft.com/office/drawing/2014/main" id="{4EF85A1B-74A0-E128-CE32-50B638FB7137}"/>
              </a:ext>
            </a:extLst>
          </p:cNvPr>
          <p:cNvSpPr>
            <a:spLocks noGrp="1"/>
          </p:cNvSpPr>
          <p:nvPr>
            <p:ph type="body" sz="quarter" idx="11" hasCustomPrompt="1"/>
          </p:nvPr>
        </p:nvSpPr>
        <p:spPr>
          <a:xfrm>
            <a:off x="4201159" y="3889101"/>
            <a:ext cx="3789683" cy="346739"/>
          </a:xfrm>
        </p:spPr>
        <p:txBody>
          <a:bodyPr>
            <a:normAutofit/>
          </a:bodyPr>
          <a:lstStyle>
            <a:lvl1pPr marL="0" indent="0" algn="ctr">
              <a:buNone/>
              <a:defRPr sz="2000">
                <a:solidFill>
                  <a:srgbClr val="0B4581"/>
                </a:solidFill>
              </a:defRPr>
            </a:lvl1pPr>
          </a:lstStyle>
          <a:p>
            <a:pPr lvl="0"/>
            <a:r>
              <a:rPr lang="es-MX" dirty="0"/>
              <a:t>Bajada de lámina</a:t>
            </a:r>
            <a:endParaRPr lang="es-CL" dirty="0"/>
          </a:p>
        </p:txBody>
      </p:sp>
      <p:pic>
        <p:nvPicPr>
          <p:cNvPr id="4" name="Imagen 3">
            <a:extLst>
              <a:ext uri="{FF2B5EF4-FFF2-40B4-BE49-F238E27FC236}">
                <a16:creationId xmlns:a16="http://schemas.microsoft.com/office/drawing/2014/main" id="{D8589F01-F04E-A170-01A0-788B7F2BB545}"/>
              </a:ext>
            </a:extLst>
          </p:cNvPr>
          <p:cNvPicPr>
            <a:picLocks noChangeAspect="1"/>
          </p:cNvPicPr>
          <p:nvPr userDrawn="1"/>
        </p:nvPicPr>
        <p:blipFill>
          <a:blip r:embed="rId3"/>
          <a:srcRect/>
          <a:stretch/>
        </p:blipFill>
        <p:spPr>
          <a:xfrm>
            <a:off x="5092811" y="342792"/>
            <a:ext cx="2006379" cy="2006379"/>
          </a:xfrm>
          <a:prstGeom prst="rect">
            <a:avLst/>
          </a:prstGeom>
        </p:spPr>
      </p:pic>
    </p:spTree>
    <p:extLst>
      <p:ext uri="{BB962C8B-B14F-4D97-AF65-F5344CB8AC3E}">
        <p14:creationId xmlns:p14="http://schemas.microsoft.com/office/powerpoint/2010/main" val="767220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os objetos" type="twoObj">
  <p:cSld name="TWO_OBJECTS">
    <p:spTree>
      <p:nvGrpSpPr>
        <p:cNvPr id="1" name="Shape 33"/>
        <p:cNvGrpSpPr/>
        <p:nvPr/>
      </p:nvGrpSpPr>
      <p:grpSpPr>
        <a:xfrm>
          <a:off x="0" y="0"/>
          <a:ext cx="0" cy="0"/>
          <a:chOff x="0" y="0"/>
          <a:chExt cx="0" cy="0"/>
        </a:xfrm>
      </p:grpSpPr>
      <p:sp>
        <p:nvSpPr>
          <p:cNvPr id="34" name="Google Shape;34;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 name="Google Shape;35;p1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1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mparación" type="twoTxTwoObj">
  <p:cSld name="TWO_OBJECTS_WITH_TEXT">
    <p:spTree>
      <p:nvGrpSpPr>
        <p:cNvPr id="1" name="Shape 40"/>
        <p:cNvGrpSpPr/>
        <p:nvPr/>
      </p:nvGrpSpPr>
      <p:grpSpPr>
        <a:xfrm>
          <a:off x="0" y="0"/>
          <a:ext cx="0" cy="0"/>
          <a:chOff x="0" y="0"/>
          <a:chExt cx="0" cy="0"/>
        </a:xfrm>
      </p:grpSpPr>
      <p:sp>
        <p:nvSpPr>
          <p:cNvPr id="41" name="Google Shape;41;p12"/>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12"/>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 name="Google Shape;43;p12"/>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12"/>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 name="Google Shape;45;p12"/>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En blanco" type="blank">
  <p:cSld name="BLANK">
    <p:spTree>
      <p:nvGrpSpPr>
        <p:cNvPr id="1" name="Shape 54"/>
        <p:cNvGrpSpPr/>
        <p:nvPr/>
      </p:nvGrpSpPr>
      <p:grpSpPr>
        <a:xfrm>
          <a:off x="0" y="0"/>
          <a:ext cx="0" cy="0"/>
          <a:chOff x="0" y="0"/>
          <a:chExt cx="0" cy="0"/>
        </a:xfrm>
      </p:grpSpPr>
      <p:sp>
        <p:nvSpPr>
          <p:cNvPr id="55" name="Google Shape;55;p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Contenido con título" type="objTx">
  <p:cSld name="OBJECT_WITH_CAPTION_TEXT">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15"/>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1" name="Google Shape;61;p15"/>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2" name="Google Shape;62;p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Imagen con título" type="picTx">
  <p:cSld name="PICTURE_WITH_CAPTION_TEXT">
    <p:spTree>
      <p:nvGrpSpPr>
        <p:cNvPr id="1" name="Shape 65"/>
        <p:cNvGrpSpPr/>
        <p:nvPr/>
      </p:nvGrpSpPr>
      <p:grpSpPr>
        <a:xfrm>
          <a:off x="0" y="0"/>
          <a:ext cx="0" cy="0"/>
          <a:chOff x="0" y="0"/>
          <a:chExt cx="0" cy="0"/>
        </a:xfrm>
      </p:grpSpPr>
      <p:sp>
        <p:nvSpPr>
          <p:cNvPr id="66" name="Google Shape;66;p1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16"/>
          <p:cNvSpPr>
            <a:spLocks noGrp="1"/>
          </p:cNvSpPr>
          <p:nvPr>
            <p:ph type="pic" idx="2"/>
          </p:nvPr>
        </p:nvSpPr>
        <p:spPr>
          <a:xfrm>
            <a:off x="5183188" y="987425"/>
            <a:ext cx="6172200" cy="4873625"/>
          </a:xfrm>
          <a:prstGeom prst="rect">
            <a:avLst/>
          </a:prstGeom>
          <a:noFill/>
          <a:ln>
            <a:noFill/>
          </a:ln>
        </p:spPr>
      </p:sp>
      <p:sp>
        <p:nvSpPr>
          <p:cNvPr id="68" name="Google Shape;68;p16"/>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9" name="Google Shape;69;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ítulo y texto vertical" type="vertTx">
  <p:cSld name="VERTICAL_TEXT">
    <p:spTree>
      <p:nvGrpSpPr>
        <p:cNvPr id="1" name="Shape 72"/>
        <p:cNvGrpSpPr/>
        <p:nvPr/>
      </p:nvGrpSpPr>
      <p:grpSpPr>
        <a:xfrm>
          <a:off x="0" y="0"/>
          <a:ext cx="0" cy="0"/>
          <a:chOff x="0" y="0"/>
          <a:chExt cx="0" cy="0"/>
        </a:xfrm>
      </p:grpSpPr>
      <p:sp>
        <p:nvSpPr>
          <p:cNvPr id="73" name="Google Shape;73;p1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7"/>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 name="Google Shape;75;p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ítulo vertical y texto" type="vertTitleAndTx">
  <p:cSld name="VERTICAL_TITLE_AND_VERTICAL_TEXT">
    <p:spTree>
      <p:nvGrpSpPr>
        <p:cNvPr id="1" name="Shape 78"/>
        <p:cNvGrpSpPr/>
        <p:nvPr/>
      </p:nvGrpSpPr>
      <p:grpSpPr>
        <a:xfrm>
          <a:off x="0" y="0"/>
          <a:ext cx="0" cy="0"/>
          <a:chOff x="0" y="0"/>
          <a:chExt cx="0" cy="0"/>
        </a:xfrm>
      </p:grpSpPr>
      <p:sp>
        <p:nvSpPr>
          <p:cNvPr id="79" name="Google Shape;79;p18"/>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18"/>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1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1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CL"/>
              <a:t>‹Nº›</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BE9BA05-0B29-4EDC-AC41-3BEB59306BA0}"/>
              </a:ext>
            </a:extLst>
          </p:cNvPr>
          <p:cNvGraphicFramePr>
            <a:graphicFrameLocks noChangeAspect="1"/>
          </p:cNvGraphicFramePr>
          <p:nvPr userDrawn="1">
            <p:custDataLst>
              <p:tags r:id="rId1"/>
            </p:custData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name="Diapositiva de think-cell" r:id="rId3" imgW="415" imgH="416" progId="TCLayout.ActiveDocument.1">
                  <p:embed/>
                </p:oleObj>
              </mc:Choice>
              <mc:Fallback>
                <p:oleObj name="Diapositiva de think-cell" r:id="rId3" imgW="415" imgH="416" progId="TCLayout.ActiveDocument.1">
                  <p:embed/>
                  <p:pic>
                    <p:nvPicPr>
                      <p:cNvPr id="2" name="Objeto 1" hidden="1">
                        <a:extLst>
                          <a:ext uri="{FF2B5EF4-FFF2-40B4-BE49-F238E27FC236}">
                            <a16:creationId xmlns:a16="http://schemas.microsoft.com/office/drawing/2014/main" id="{6BE9BA05-0B29-4EDC-AC41-3BEB59306BA0}"/>
                          </a:ext>
                        </a:extLst>
                      </p:cNvPr>
                      <p:cNvPicPr/>
                      <p:nvPr/>
                    </p:nvPicPr>
                    <p:blipFill>
                      <a:blip r:embed="rId4"/>
                      <a:stretch>
                        <a:fillRect/>
                      </a:stretch>
                    </p:blipFill>
                    <p:spPr>
                      <a:xfrm>
                        <a:off x="2121" y="1591"/>
                        <a:ext cx="2116" cy="1587"/>
                      </a:xfrm>
                      <a:prstGeom prst="rect">
                        <a:avLst/>
                      </a:prstGeom>
                    </p:spPr>
                  </p:pic>
                </p:oleObj>
              </mc:Fallback>
            </mc:AlternateContent>
          </a:graphicData>
        </a:graphic>
      </p:graphicFrame>
      <p:sp>
        <p:nvSpPr>
          <p:cNvPr id="4" name="McK 2. Slide Title"/>
          <p:cNvSpPr>
            <a:spLocks noGrp="1" noChangeArrowheads="1"/>
          </p:cNvSpPr>
          <p:nvPr>
            <p:ph type="title" hasCustomPrompt="1"/>
          </p:nvPr>
        </p:nvSpPr>
        <p:spPr bwMode="auto">
          <a:xfrm>
            <a:off x="475617" y="224063"/>
            <a:ext cx="9690483" cy="609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s-CL" noProof="0"/>
              <a:t>Click to edit Master title style</a:t>
            </a:r>
            <a:endParaRPr lang="es-CL" noProof="0" dirty="0"/>
          </a:p>
        </p:txBody>
      </p:sp>
      <p:sp>
        <p:nvSpPr>
          <p:cNvPr id="3" name="195 Marcador de número de diapositiva">
            <a:extLst>
              <a:ext uri="{FF2B5EF4-FFF2-40B4-BE49-F238E27FC236}">
                <a16:creationId xmlns:a16="http://schemas.microsoft.com/office/drawing/2014/main" id="{37FDE452-4366-4E41-B31C-3C8971D71D1A}"/>
              </a:ext>
            </a:extLst>
          </p:cNvPr>
          <p:cNvSpPr>
            <a:spLocks noGrp="1"/>
          </p:cNvSpPr>
          <p:nvPr>
            <p:ph type="sldNum" sz="quarter" idx="4"/>
          </p:nvPr>
        </p:nvSpPr>
        <p:spPr>
          <a:xfrm>
            <a:off x="11697989" y="6609104"/>
            <a:ext cx="2844800" cy="365125"/>
          </a:xfrm>
          <a:prstGeom prst="rect">
            <a:avLst/>
          </a:prstGeom>
        </p:spPr>
        <p:txBody>
          <a:bodyPr/>
          <a:lstStyle>
            <a:lvl1pPr>
              <a:defRPr sz="900" baseline="0">
                <a:solidFill>
                  <a:schemeClr val="bg1"/>
                </a:solidFill>
                <a:latin typeface="Arial" panose="020B0604020202020204" pitchFamily="34" charset="0"/>
                <a:cs typeface="Arial" panose="020B0604020202020204" pitchFamily="34" charset="0"/>
              </a:defRPr>
            </a:lvl1pPr>
          </a:lstStyle>
          <a:p>
            <a:fld id="{7536BA00-E649-495D-B82A-3219CB1D2429}" type="slidenum">
              <a:rPr lang="es-CL" smtClean="0"/>
              <a:pPr/>
              <a:t>‹Nº›</a:t>
            </a:fld>
            <a:endParaRPr lang="es-CL" dirty="0"/>
          </a:p>
        </p:txBody>
      </p:sp>
    </p:spTree>
    <p:extLst>
      <p:ext uri="{BB962C8B-B14F-4D97-AF65-F5344CB8AC3E}">
        <p14:creationId xmlns:p14="http://schemas.microsoft.com/office/powerpoint/2010/main" val="31381703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0_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609601" y="434249"/>
            <a:ext cx="8589684" cy="544227"/>
          </a:xfrm>
          <a:prstGeom prst="rect">
            <a:avLst/>
          </a:prstGeom>
        </p:spPr>
        <p:txBody>
          <a:bodyPr/>
          <a:lstStyle>
            <a:lvl1pPr>
              <a:defRPr>
                <a:solidFill>
                  <a:srgbClr val="0B4581"/>
                </a:solidFill>
              </a:defRPr>
            </a:lvl1pPr>
          </a:lstStyle>
          <a:p>
            <a:r>
              <a:rPr lang="es-ES_tradnl" dirty="0"/>
              <a:t>Clic para editar título</a:t>
            </a:r>
            <a:endParaRPr lang="es-ES" dirty="0"/>
          </a:p>
        </p:txBody>
      </p:sp>
      <p:sp>
        <p:nvSpPr>
          <p:cNvPr id="3" name="Marcador de contenido 2"/>
          <p:cNvSpPr>
            <a:spLocks noGrp="1"/>
          </p:cNvSpPr>
          <p:nvPr>
            <p:ph idx="1"/>
          </p:nvPr>
        </p:nvSpPr>
        <p:spPr>
          <a:xfrm>
            <a:off x="609600" y="1600201"/>
            <a:ext cx="10972800" cy="4525963"/>
          </a:xfrm>
          <a:prstGeom prst="rect">
            <a:avLst/>
          </a:prstGeom>
        </p:spPr>
        <p:txBody>
          <a:bodyPr/>
          <a:lstStyle>
            <a:lvl1pPr>
              <a:lnSpc>
                <a:spcPct val="100000"/>
              </a:lnSpc>
              <a:defRPr>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grpSp>
        <p:nvGrpSpPr>
          <p:cNvPr id="7" name="Agrupar 6"/>
          <p:cNvGrpSpPr/>
          <p:nvPr userDrawn="1"/>
        </p:nvGrpSpPr>
        <p:grpSpPr>
          <a:xfrm>
            <a:off x="685941" y="1"/>
            <a:ext cx="10668044" cy="138791"/>
            <a:chOff x="514455" y="114984"/>
            <a:chExt cx="8001033" cy="181989"/>
          </a:xfrm>
        </p:grpSpPr>
        <p:sp>
          <p:nvSpPr>
            <p:cNvPr id="8" name="Rectángulo 7"/>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9" name="Rectángulo 8"/>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2"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pic>
        <p:nvPicPr>
          <p:cNvPr id="6" name="Imagen 5">
            <a:extLst>
              <a:ext uri="{FF2B5EF4-FFF2-40B4-BE49-F238E27FC236}">
                <a16:creationId xmlns:a16="http://schemas.microsoft.com/office/drawing/2014/main" id="{592C3F1B-04C5-895C-CFD7-0D110BF2D071}"/>
              </a:ext>
            </a:extLst>
          </p:cNvPr>
          <p:cNvPicPr>
            <a:picLocks noChangeAspect="1"/>
          </p:cNvPicPr>
          <p:nvPr userDrawn="1"/>
        </p:nvPicPr>
        <p:blipFill>
          <a:blip r:embed="rId2">
            <a:alphaModFix amt="50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914400" y="6278880"/>
            <a:ext cx="10363200" cy="442595"/>
          </a:xfrm>
          <a:prstGeom prst="rect">
            <a:avLst/>
          </a:prstGeom>
        </p:spPr>
      </p:pic>
      <p:pic>
        <p:nvPicPr>
          <p:cNvPr id="5" name="Imagen 4">
            <a:extLst>
              <a:ext uri="{FF2B5EF4-FFF2-40B4-BE49-F238E27FC236}">
                <a16:creationId xmlns:a16="http://schemas.microsoft.com/office/drawing/2014/main" id="{50799E2D-680F-8DF3-1D8C-65A4E622092E}"/>
              </a:ext>
            </a:extLst>
          </p:cNvPr>
          <p:cNvPicPr>
            <a:picLocks noChangeAspect="1"/>
          </p:cNvPicPr>
          <p:nvPr userDrawn="1"/>
        </p:nvPicPr>
        <p:blipFill>
          <a:blip r:embed="rId4"/>
          <a:srcRect/>
          <a:stretch/>
        </p:blipFill>
        <p:spPr>
          <a:xfrm>
            <a:off x="10852390" y="204768"/>
            <a:ext cx="1003189" cy="1003189"/>
          </a:xfrm>
          <a:prstGeom prst="rect">
            <a:avLst/>
          </a:prstGeom>
        </p:spPr>
      </p:pic>
    </p:spTree>
    <p:extLst>
      <p:ext uri="{BB962C8B-B14F-4D97-AF65-F5344CB8AC3E}">
        <p14:creationId xmlns:p14="http://schemas.microsoft.com/office/powerpoint/2010/main" val="3550397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ítulo y objetos">
    <p:bg>
      <p:bgPr>
        <a:solidFill>
          <a:schemeClr val="accent5">
            <a:alpha val="40084"/>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609601" y="434249"/>
            <a:ext cx="8850836" cy="544227"/>
          </a:xfrm>
          <a:prstGeom prst="rect">
            <a:avLst/>
          </a:prstGeom>
        </p:spPr>
        <p:txBody>
          <a:bodyPr/>
          <a:lstStyle>
            <a:lvl1pPr>
              <a:defRPr>
                <a:solidFill>
                  <a:srgbClr val="0B4581"/>
                </a:solidFill>
              </a:defRPr>
            </a:lvl1pPr>
          </a:lstStyle>
          <a:p>
            <a:r>
              <a:rPr lang="es-ES_tradnl" dirty="0"/>
              <a:t>Clic para editar título</a:t>
            </a:r>
            <a:endParaRPr lang="es-ES" dirty="0"/>
          </a:p>
        </p:txBody>
      </p:sp>
      <p:sp>
        <p:nvSpPr>
          <p:cNvPr id="3" name="Marcador de contenido 2"/>
          <p:cNvSpPr>
            <a:spLocks noGrp="1"/>
          </p:cNvSpPr>
          <p:nvPr>
            <p:ph idx="1"/>
          </p:nvPr>
        </p:nvSpPr>
        <p:spPr>
          <a:xfrm>
            <a:off x="609600" y="1600201"/>
            <a:ext cx="10972800" cy="4525963"/>
          </a:xfrm>
          <a:prstGeom prst="rect">
            <a:avLst/>
          </a:prstGeom>
        </p:spPr>
        <p:txBody>
          <a:bodyPr/>
          <a:lstStyle>
            <a:lvl1pPr>
              <a:lnSpc>
                <a:spcPct val="100000"/>
              </a:lnSpc>
              <a:defRPr>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grpSp>
        <p:nvGrpSpPr>
          <p:cNvPr id="7" name="Agrupar 6"/>
          <p:cNvGrpSpPr/>
          <p:nvPr userDrawn="1"/>
        </p:nvGrpSpPr>
        <p:grpSpPr>
          <a:xfrm>
            <a:off x="685941" y="1"/>
            <a:ext cx="10668044" cy="138791"/>
            <a:chOff x="514455" y="114984"/>
            <a:chExt cx="8001033" cy="181989"/>
          </a:xfrm>
        </p:grpSpPr>
        <p:sp>
          <p:nvSpPr>
            <p:cNvPr id="8" name="Rectángulo 7"/>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9" name="Rectángulo 8"/>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5"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2"/>
                </a:solidFill>
              </a:defRPr>
            </a:lvl1pPr>
          </a:lstStyle>
          <a:p>
            <a:fld id="{758EF458-5B7C-9F44-BB09-A6316498C081}" type="slidenum">
              <a:rPr lang="es-ES" smtClean="0"/>
              <a:pPr/>
              <a:t>‹Nº›</a:t>
            </a:fld>
            <a:endParaRPr lang="es-ES"/>
          </a:p>
        </p:txBody>
      </p:sp>
      <p:pic>
        <p:nvPicPr>
          <p:cNvPr id="6" name="Imagen 5">
            <a:extLst>
              <a:ext uri="{FF2B5EF4-FFF2-40B4-BE49-F238E27FC236}">
                <a16:creationId xmlns:a16="http://schemas.microsoft.com/office/drawing/2014/main" id="{04A342F0-4F52-2D7B-C265-4114E81E147C}"/>
              </a:ext>
            </a:extLst>
          </p:cNvPr>
          <p:cNvPicPr>
            <a:picLocks noChangeAspect="1"/>
          </p:cNvPicPr>
          <p:nvPr userDrawn="1"/>
        </p:nvPicPr>
        <p:blipFill>
          <a:blip r:embed="rId2">
            <a:alphaModFix amt="50000"/>
            <a:biLevel thresh="25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914400" y="6278880"/>
            <a:ext cx="10363200" cy="442595"/>
          </a:xfrm>
          <a:prstGeom prst="rect">
            <a:avLst/>
          </a:prstGeom>
        </p:spPr>
      </p:pic>
      <p:pic>
        <p:nvPicPr>
          <p:cNvPr id="4" name="Imagen 3">
            <a:extLst>
              <a:ext uri="{FF2B5EF4-FFF2-40B4-BE49-F238E27FC236}">
                <a16:creationId xmlns:a16="http://schemas.microsoft.com/office/drawing/2014/main" id="{3C7974E6-14DE-D18A-D871-C93EDEAB0382}"/>
              </a:ext>
            </a:extLst>
          </p:cNvPr>
          <p:cNvPicPr>
            <a:picLocks noChangeAspect="1"/>
          </p:cNvPicPr>
          <p:nvPr userDrawn="1"/>
        </p:nvPicPr>
        <p:blipFill>
          <a:blip r:embed="rId4"/>
          <a:srcRect/>
          <a:stretch/>
        </p:blipFill>
        <p:spPr>
          <a:xfrm>
            <a:off x="10852390" y="204768"/>
            <a:ext cx="1003189" cy="1003189"/>
          </a:xfrm>
          <a:prstGeom prst="rect">
            <a:avLst/>
          </a:prstGeom>
        </p:spPr>
      </p:pic>
    </p:spTree>
    <p:extLst>
      <p:ext uri="{BB962C8B-B14F-4D97-AF65-F5344CB8AC3E}">
        <p14:creationId xmlns:p14="http://schemas.microsoft.com/office/powerpoint/2010/main" val="38983960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os objetos">
    <p:spTree>
      <p:nvGrpSpPr>
        <p:cNvPr id="1" name=""/>
        <p:cNvGrpSpPr/>
        <p:nvPr/>
      </p:nvGrpSpPr>
      <p:grpSpPr>
        <a:xfrm>
          <a:off x="0" y="0"/>
          <a:ext cx="0" cy="0"/>
          <a:chOff x="0" y="0"/>
          <a:chExt cx="0" cy="0"/>
        </a:xfrm>
      </p:grpSpPr>
      <p:sp>
        <p:nvSpPr>
          <p:cNvPr id="2" name="Título 1"/>
          <p:cNvSpPr>
            <a:spLocks noGrp="1"/>
          </p:cNvSpPr>
          <p:nvPr>
            <p:ph type="title"/>
          </p:nvPr>
        </p:nvSpPr>
        <p:spPr>
          <a:xfrm>
            <a:off x="609601" y="434249"/>
            <a:ext cx="8842412" cy="544227"/>
          </a:xfrm>
          <a:prstGeom prst="rect">
            <a:avLst/>
          </a:prstGeom>
        </p:spPr>
        <p:txBody>
          <a:bodyPr/>
          <a:lstStyle/>
          <a:p>
            <a:r>
              <a:rPr lang="es-ES_tradnl"/>
              <a:t>Clic para editar título</a:t>
            </a:r>
            <a:endParaRPr lang="es-ES"/>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6" name="Marcador de contenido 2"/>
          <p:cNvSpPr>
            <a:spLocks noGrp="1"/>
          </p:cNvSpPr>
          <p:nvPr>
            <p:ph idx="1"/>
          </p:nvPr>
        </p:nvSpPr>
        <p:spPr>
          <a:xfrm>
            <a:off x="609601" y="1600201"/>
            <a:ext cx="5287377" cy="4525963"/>
          </a:xfrm>
          <a:prstGeom prst="rect">
            <a:avLst/>
          </a:prstGeom>
        </p:spPr>
        <p:txBody>
          <a:bodyPr/>
          <a:lstStyle>
            <a:lvl1pPr>
              <a:lnSpc>
                <a:spcPct val="100000"/>
              </a:lnSpc>
              <a:defRPr>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7" name="Marcador de contenido 2"/>
          <p:cNvSpPr>
            <a:spLocks noGrp="1"/>
          </p:cNvSpPr>
          <p:nvPr>
            <p:ph idx="13"/>
          </p:nvPr>
        </p:nvSpPr>
        <p:spPr>
          <a:xfrm>
            <a:off x="6295024" y="1600201"/>
            <a:ext cx="5287377" cy="4525963"/>
          </a:xfrm>
          <a:prstGeom prst="rect">
            <a:avLst/>
          </a:prstGeom>
        </p:spPr>
        <p:txBody>
          <a:bodyPr/>
          <a:lstStyle>
            <a:lvl1pPr>
              <a:lnSpc>
                <a:spcPct val="100000"/>
              </a:lnSpc>
              <a:defRPr>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3"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pic>
        <p:nvPicPr>
          <p:cNvPr id="4" name="Imagen 3">
            <a:extLst>
              <a:ext uri="{FF2B5EF4-FFF2-40B4-BE49-F238E27FC236}">
                <a16:creationId xmlns:a16="http://schemas.microsoft.com/office/drawing/2014/main" id="{3186E3E6-57F7-E5E5-4BF8-FDDDF7B9318D}"/>
              </a:ext>
            </a:extLst>
          </p:cNvPr>
          <p:cNvPicPr>
            <a:picLocks noChangeAspect="1"/>
          </p:cNvPicPr>
          <p:nvPr userDrawn="1"/>
        </p:nvPicPr>
        <p:blipFill>
          <a:blip r:embed="rId2">
            <a:alphaModFix amt="50000"/>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914400" y="6278880"/>
            <a:ext cx="10363200" cy="442595"/>
          </a:xfrm>
          <a:prstGeom prst="rect">
            <a:avLst/>
          </a:prstGeom>
        </p:spPr>
      </p:pic>
      <p:pic>
        <p:nvPicPr>
          <p:cNvPr id="5" name="Imagen 4">
            <a:extLst>
              <a:ext uri="{FF2B5EF4-FFF2-40B4-BE49-F238E27FC236}">
                <a16:creationId xmlns:a16="http://schemas.microsoft.com/office/drawing/2014/main" id="{0BE7F781-55E9-DF3B-144C-C3F6E72AE3D7}"/>
              </a:ext>
            </a:extLst>
          </p:cNvPr>
          <p:cNvPicPr>
            <a:picLocks noChangeAspect="1"/>
          </p:cNvPicPr>
          <p:nvPr userDrawn="1"/>
        </p:nvPicPr>
        <p:blipFill>
          <a:blip r:embed="rId4"/>
          <a:srcRect/>
          <a:stretch/>
        </p:blipFill>
        <p:spPr>
          <a:xfrm>
            <a:off x="10852390" y="204768"/>
            <a:ext cx="1003189" cy="1003189"/>
          </a:xfrm>
          <a:prstGeom prst="rect">
            <a:avLst/>
          </a:prstGeom>
        </p:spPr>
      </p:pic>
    </p:spTree>
    <p:extLst>
      <p:ext uri="{BB962C8B-B14F-4D97-AF65-F5344CB8AC3E}">
        <p14:creationId xmlns:p14="http://schemas.microsoft.com/office/powerpoint/2010/main" val="515713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ontenido con título lateral">
    <p:spTree>
      <p:nvGrpSpPr>
        <p:cNvPr id="1" name=""/>
        <p:cNvGrpSpPr/>
        <p:nvPr/>
      </p:nvGrpSpPr>
      <p:grpSpPr>
        <a:xfrm>
          <a:off x="0" y="0"/>
          <a:ext cx="0" cy="0"/>
          <a:chOff x="0" y="0"/>
          <a:chExt cx="0" cy="0"/>
        </a:xfrm>
      </p:grpSpPr>
      <p:sp>
        <p:nvSpPr>
          <p:cNvPr id="5" name="Rectángulo 4"/>
          <p:cNvSpPr/>
          <p:nvPr userDrawn="1"/>
        </p:nvSpPr>
        <p:spPr>
          <a:xfrm>
            <a:off x="0" y="0"/>
            <a:ext cx="4620685" cy="6858000"/>
          </a:xfrm>
          <a:prstGeom prst="rect">
            <a:avLst/>
          </a:prstGeom>
          <a:solidFill>
            <a:srgbClr val="09458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solidFill>
                <a:schemeClr val="bg1"/>
              </a:solidFill>
            </a:endParaRPr>
          </a:p>
        </p:txBody>
      </p:sp>
      <p:sp>
        <p:nvSpPr>
          <p:cNvPr id="2" name="Título 1"/>
          <p:cNvSpPr>
            <a:spLocks noGrp="1"/>
          </p:cNvSpPr>
          <p:nvPr>
            <p:ph type="title" hasCustomPrompt="1"/>
          </p:nvPr>
        </p:nvSpPr>
        <p:spPr>
          <a:xfrm>
            <a:off x="5052384" y="996383"/>
            <a:ext cx="5803589" cy="527980"/>
          </a:xfrm>
          <a:prstGeom prst="rect">
            <a:avLst/>
          </a:prstGeom>
        </p:spPr>
        <p:txBody>
          <a:bodyPr anchor="t"/>
          <a:lstStyle>
            <a:lvl1pPr algn="l">
              <a:defRPr sz="3200" b="1">
                <a:solidFill>
                  <a:srgbClr val="0B4581"/>
                </a:solidFill>
              </a:defRPr>
            </a:lvl1pPr>
          </a:lstStyle>
          <a:p>
            <a:r>
              <a:rPr lang="es-ES_tradnl" dirty="0"/>
              <a:t>Clic para editar título</a:t>
            </a:r>
            <a:endParaRPr lang="es-ES" dirty="0"/>
          </a:p>
        </p:txBody>
      </p:sp>
      <p:sp>
        <p:nvSpPr>
          <p:cNvPr id="3" name="Marcador de contenido 2"/>
          <p:cNvSpPr>
            <a:spLocks noGrp="1"/>
          </p:cNvSpPr>
          <p:nvPr>
            <p:ph idx="1"/>
          </p:nvPr>
        </p:nvSpPr>
        <p:spPr>
          <a:xfrm>
            <a:off x="2" y="15178"/>
            <a:ext cx="4620685" cy="6842823"/>
          </a:xfrm>
          <a:prstGeom prst="rect">
            <a:avLst/>
          </a:prstGeom>
          <a:solidFill>
            <a:schemeClr val="bg1">
              <a:lumMod val="85000"/>
            </a:schemeClr>
          </a:solidFill>
        </p:spPr>
        <p:txBody>
          <a:bodyPr/>
          <a:lstStyle>
            <a:lvl1pPr marL="143996" indent="0">
              <a:buNone/>
              <a:defRPr sz="2400">
                <a:solidFill>
                  <a:schemeClr val="tx1">
                    <a:lumMod val="90000"/>
                    <a:lumOff val="10000"/>
                  </a:schemeClr>
                </a:solidFill>
              </a:defRPr>
            </a:lvl1pPr>
            <a:lvl2pPr>
              <a:defRPr sz="2133">
                <a:solidFill>
                  <a:schemeClr val="tx1">
                    <a:lumMod val="90000"/>
                    <a:lumOff val="10000"/>
                  </a:schemeClr>
                </a:solidFill>
              </a:defRPr>
            </a:lvl2pPr>
            <a:lvl3pPr>
              <a:defRPr sz="1867">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667"/>
            </a:lvl6pPr>
            <a:lvl7pPr>
              <a:defRPr sz="2667"/>
            </a:lvl7pPr>
            <a:lvl8pPr>
              <a:defRPr sz="2667"/>
            </a:lvl8pPr>
            <a:lvl9pPr>
              <a:defRPr sz="2667"/>
            </a:lvl9pPr>
          </a:lstStyle>
          <a:p>
            <a:pPr lvl="0"/>
            <a:endParaRPr lang="es-ES" dirty="0"/>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2"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sp>
        <p:nvSpPr>
          <p:cNvPr id="6" name="Marcador de contenido 2">
            <a:extLst>
              <a:ext uri="{FF2B5EF4-FFF2-40B4-BE49-F238E27FC236}">
                <a16:creationId xmlns:a16="http://schemas.microsoft.com/office/drawing/2014/main" id="{40C417A0-693E-7145-E8B3-DD62FDC8E470}"/>
              </a:ext>
            </a:extLst>
          </p:cNvPr>
          <p:cNvSpPr>
            <a:spLocks noGrp="1"/>
          </p:cNvSpPr>
          <p:nvPr>
            <p:ph idx="13"/>
          </p:nvPr>
        </p:nvSpPr>
        <p:spPr>
          <a:xfrm>
            <a:off x="5052384" y="2841873"/>
            <a:ext cx="6180253" cy="3571024"/>
          </a:xfrm>
          <a:prstGeom prst="rect">
            <a:avLst/>
          </a:prstGeom>
        </p:spPr>
        <p:txBody>
          <a:bodyPr/>
          <a:lstStyle>
            <a:lvl1pPr>
              <a:lnSpc>
                <a:spcPct val="100000"/>
              </a:lnSpc>
              <a:defRPr sz="2133">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contenido 2">
            <a:extLst>
              <a:ext uri="{FF2B5EF4-FFF2-40B4-BE49-F238E27FC236}">
                <a16:creationId xmlns:a16="http://schemas.microsoft.com/office/drawing/2014/main" id="{66E281C0-873A-753E-487C-397C3324B4C9}"/>
              </a:ext>
            </a:extLst>
          </p:cNvPr>
          <p:cNvSpPr>
            <a:spLocks noGrp="1"/>
          </p:cNvSpPr>
          <p:nvPr>
            <p:ph idx="14" hasCustomPrompt="1"/>
          </p:nvPr>
        </p:nvSpPr>
        <p:spPr>
          <a:xfrm>
            <a:off x="5052384" y="1646457"/>
            <a:ext cx="6180253" cy="828991"/>
          </a:xfrm>
          <a:prstGeom prst="rect">
            <a:avLst/>
          </a:prstGeom>
        </p:spPr>
        <p:txBody>
          <a:bodyPr lIns="0" tIns="46800" rIns="0"/>
          <a:lstStyle>
            <a:lvl1pPr marL="143996" indent="0">
              <a:lnSpc>
                <a:spcPct val="100000"/>
              </a:lnSpc>
              <a:buNone/>
              <a:defRPr lang="es-ES_tradnl" sz="2400" b="0" kern="1200" dirty="0" smtClean="0">
                <a:solidFill>
                  <a:srgbClr val="0B4581"/>
                </a:solidFill>
                <a:latin typeface="Cambria"/>
                <a:ea typeface="+mj-ea"/>
                <a:cs typeface="Cambria"/>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p:txBody>
      </p:sp>
      <p:pic>
        <p:nvPicPr>
          <p:cNvPr id="4" name="Imagen 3">
            <a:extLst>
              <a:ext uri="{FF2B5EF4-FFF2-40B4-BE49-F238E27FC236}">
                <a16:creationId xmlns:a16="http://schemas.microsoft.com/office/drawing/2014/main" id="{FDFE39B0-63CB-8B98-43D0-80BDB23DE0CD}"/>
              </a:ext>
            </a:extLst>
          </p:cNvPr>
          <p:cNvPicPr>
            <a:picLocks noChangeAspect="1"/>
          </p:cNvPicPr>
          <p:nvPr userDrawn="1"/>
        </p:nvPicPr>
        <p:blipFill>
          <a:blip r:embed="rId2"/>
          <a:srcRect/>
          <a:stretch/>
        </p:blipFill>
        <p:spPr>
          <a:xfrm>
            <a:off x="10852390" y="204768"/>
            <a:ext cx="1003189" cy="1003189"/>
          </a:xfrm>
          <a:prstGeom prst="rect">
            <a:avLst/>
          </a:prstGeom>
        </p:spPr>
      </p:pic>
    </p:spTree>
    <p:extLst>
      <p:ext uri="{BB962C8B-B14F-4D97-AF65-F5344CB8AC3E}">
        <p14:creationId xmlns:p14="http://schemas.microsoft.com/office/powerpoint/2010/main" val="3608879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ido con título lateral">
    <p:spTree>
      <p:nvGrpSpPr>
        <p:cNvPr id="1" name=""/>
        <p:cNvGrpSpPr/>
        <p:nvPr/>
      </p:nvGrpSpPr>
      <p:grpSpPr>
        <a:xfrm>
          <a:off x="0" y="0"/>
          <a:ext cx="0" cy="0"/>
          <a:chOff x="0" y="0"/>
          <a:chExt cx="0" cy="0"/>
        </a:xfrm>
      </p:grpSpPr>
      <p:sp>
        <p:nvSpPr>
          <p:cNvPr id="5" name="Rectángulo 4"/>
          <p:cNvSpPr/>
          <p:nvPr userDrawn="1"/>
        </p:nvSpPr>
        <p:spPr>
          <a:xfrm>
            <a:off x="0" y="0"/>
            <a:ext cx="4620685" cy="6858000"/>
          </a:xfrm>
          <a:prstGeom prst="rect">
            <a:avLst/>
          </a:prstGeom>
          <a:solidFill>
            <a:srgbClr val="0C468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solidFill>
                <a:schemeClr val="bg1"/>
              </a:solidFill>
            </a:endParaRPr>
          </a:p>
        </p:txBody>
      </p:sp>
      <p:sp>
        <p:nvSpPr>
          <p:cNvPr id="2" name="Título 1"/>
          <p:cNvSpPr>
            <a:spLocks noGrp="1"/>
          </p:cNvSpPr>
          <p:nvPr>
            <p:ph type="title"/>
          </p:nvPr>
        </p:nvSpPr>
        <p:spPr>
          <a:xfrm>
            <a:off x="609602" y="1997348"/>
            <a:ext cx="3493009" cy="1162051"/>
          </a:xfrm>
          <a:prstGeom prst="rect">
            <a:avLst/>
          </a:prstGeom>
        </p:spPr>
        <p:txBody>
          <a:bodyPr anchor="b"/>
          <a:lstStyle>
            <a:lvl1pPr algn="l">
              <a:defRPr sz="2667" b="1">
                <a:solidFill>
                  <a:srgbClr val="E1EFF6"/>
                </a:solidFill>
              </a:defRPr>
            </a:lvl1pPr>
          </a:lstStyle>
          <a:p>
            <a:r>
              <a:rPr lang="es-ES_tradnl" dirty="0"/>
              <a:t>Clic para editar título</a:t>
            </a:r>
            <a:endParaRPr lang="es-ES" dirty="0"/>
          </a:p>
        </p:txBody>
      </p:sp>
      <p:sp>
        <p:nvSpPr>
          <p:cNvPr id="4" name="Marcador de texto 3"/>
          <p:cNvSpPr>
            <a:spLocks noGrp="1"/>
          </p:cNvSpPr>
          <p:nvPr>
            <p:ph type="body" sz="half" idx="2"/>
          </p:nvPr>
        </p:nvSpPr>
        <p:spPr>
          <a:xfrm>
            <a:off x="609602" y="3260501"/>
            <a:ext cx="3493009" cy="1086832"/>
          </a:xfrm>
          <a:prstGeom prst="rect">
            <a:avLst/>
          </a:prstGeom>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_tradnl" dirty="0"/>
              <a:t>Haga clic para modificar el estilo de texto del patrón</a:t>
            </a:r>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1"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sp>
        <p:nvSpPr>
          <p:cNvPr id="7" name="Marcador de contenido 2">
            <a:extLst>
              <a:ext uri="{FF2B5EF4-FFF2-40B4-BE49-F238E27FC236}">
                <a16:creationId xmlns:a16="http://schemas.microsoft.com/office/drawing/2014/main" id="{2AFEC00E-CADA-FC49-AA1B-0624D2ABB965}"/>
              </a:ext>
            </a:extLst>
          </p:cNvPr>
          <p:cNvSpPr>
            <a:spLocks noGrp="1"/>
          </p:cNvSpPr>
          <p:nvPr>
            <p:ph idx="13"/>
          </p:nvPr>
        </p:nvSpPr>
        <p:spPr>
          <a:xfrm>
            <a:off x="5052384" y="2841873"/>
            <a:ext cx="6180253" cy="3571024"/>
          </a:xfrm>
          <a:prstGeom prst="rect">
            <a:avLst/>
          </a:prstGeom>
        </p:spPr>
        <p:txBody>
          <a:bodyPr/>
          <a:lstStyle>
            <a:lvl1pPr>
              <a:lnSpc>
                <a:spcPct val="100000"/>
              </a:lnSpc>
              <a:defRPr sz="2133">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2" name="Marcador de contenido 2">
            <a:extLst>
              <a:ext uri="{FF2B5EF4-FFF2-40B4-BE49-F238E27FC236}">
                <a16:creationId xmlns:a16="http://schemas.microsoft.com/office/drawing/2014/main" id="{B1EEC7E2-60AB-38FC-04D9-2EF1644D61E2}"/>
              </a:ext>
            </a:extLst>
          </p:cNvPr>
          <p:cNvSpPr>
            <a:spLocks noGrp="1"/>
          </p:cNvSpPr>
          <p:nvPr>
            <p:ph idx="14" hasCustomPrompt="1"/>
          </p:nvPr>
        </p:nvSpPr>
        <p:spPr>
          <a:xfrm>
            <a:off x="5052384" y="1646457"/>
            <a:ext cx="6180253" cy="828991"/>
          </a:xfrm>
          <a:prstGeom prst="rect">
            <a:avLst/>
          </a:prstGeom>
        </p:spPr>
        <p:txBody>
          <a:bodyPr lIns="0" tIns="46800" rIns="0"/>
          <a:lstStyle>
            <a:lvl1pPr marL="143996" indent="0">
              <a:lnSpc>
                <a:spcPct val="100000"/>
              </a:lnSpc>
              <a:buNone/>
              <a:defRPr lang="es-ES_tradnl" sz="2400" b="0" kern="1200" dirty="0" smtClean="0">
                <a:solidFill>
                  <a:srgbClr val="0B4581"/>
                </a:solidFill>
                <a:latin typeface="Cambria"/>
                <a:ea typeface="+mj-ea"/>
                <a:cs typeface="Cambria"/>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p:txBody>
      </p:sp>
      <p:pic>
        <p:nvPicPr>
          <p:cNvPr id="13" name="Imagen 12">
            <a:extLst>
              <a:ext uri="{FF2B5EF4-FFF2-40B4-BE49-F238E27FC236}">
                <a16:creationId xmlns:a16="http://schemas.microsoft.com/office/drawing/2014/main" id="{DD18EFCB-4089-15D6-858A-A647288C23EE}"/>
              </a:ext>
            </a:extLst>
          </p:cNvPr>
          <p:cNvPicPr>
            <a:picLocks noChangeAspect="1"/>
          </p:cNvPicPr>
          <p:nvPr userDrawn="1"/>
        </p:nvPicPr>
        <p:blipFill>
          <a:blip r:embed="rId2"/>
          <a:srcRect/>
          <a:stretch/>
        </p:blipFill>
        <p:spPr>
          <a:xfrm>
            <a:off x="10852390" y="204768"/>
            <a:ext cx="1003189" cy="1003189"/>
          </a:xfrm>
          <a:prstGeom prst="rect">
            <a:avLst/>
          </a:prstGeom>
        </p:spPr>
      </p:pic>
    </p:spTree>
    <p:extLst>
      <p:ext uri="{BB962C8B-B14F-4D97-AF65-F5344CB8AC3E}">
        <p14:creationId xmlns:p14="http://schemas.microsoft.com/office/powerpoint/2010/main" val="1032774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2_Contenido con título lateral">
    <p:spTree>
      <p:nvGrpSpPr>
        <p:cNvPr id="1" name=""/>
        <p:cNvGrpSpPr/>
        <p:nvPr/>
      </p:nvGrpSpPr>
      <p:grpSpPr>
        <a:xfrm>
          <a:off x="0" y="0"/>
          <a:ext cx="0" cy="0"/>
          <a:chOff x="0" y="0"/>
          <a:chExt cx="0" cy="0"/>
        </a:xfrm>
      </p:grpSpPr>
      <p:sp>
        <p:nvSpPr>
          <p:cNvPr id="5" name="Rectángulo 4"/>
          <p:cNvSpPr/>
          <p:nvPr userDrawn="1"/>
        </p:nvSpPr>
        <p:spPr>
          <a:xfrm>
            <a:off x="0" y="0"/>
            <a:ext cx="5298853" cy="6858000"/>
          </a:xfrm>
          <a:prstGeom prst="rect">
            <a:avLst/>
          </a:prstGeom>
          <a:solidFill>
            <a:srgbClr val="E1EF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solidFill>
                <a:schemeClr val="bg1"/>
              </a:solidFill>
            </a:endParaRPr>
          </a:p>
        </p:txBody>
      </p:sp>
      <p:sp>
        <p:nvSpPr>
          <p:cNvPr id="2" name="Título 1"/>
          <p:cNvSpPr>
            <a:spLocks noGrp="1"/>
          </p:cNvSpPr>
          <p:nvPr>
            <p:ph type="title"/>
          </p:nvPr>
        </p:nvSpPr>
        <p:spPr>
          <a:xfrm>
            <a:off x="609602" y="1997348"/>
            <a:ext cx="3493009" cy="1162051"/>
          </a:xfrm>
          <a:prstGeom prst="rect">
            <a:avLst/>
          </a:prstGeom>
        </p:spPr>
        <p:txBody>
          <a:bodyPr anchor="b"/>
          <a:lstStyle>
            <a:lvl1pPr algn="l">
              <a:defRPr sz="2667" b="1">
                <a:solidFill>
                  <a:srgbClr val="0C4681"/>
                </a:solidFill>
              </a:defRPr>
            </a:lvl1pPr>
          </a:lstStyle>
          <a:p>
            <a:r>
              <a:rPr lang="es-ES_tradnl" dirty="0"/>
              <a:t>Clic para editar título</a:t>
            </a:r>
            <a:endParaRPr lang="es-ES" dirty="0"/>
          </a:p>
        </p:txBody>
      </p:sp>
      <p:sp>
        <p:nvSpPr>
          <p:cNvPr id="3" name="Marcador de contenido 2"/>
          <p:cNvSpPr>
            <a:spLocks noGrp="1"/>
          </p:cNvSpPr>
          <p:nvPr>
            <p:ph idx="1"/>
          </p:nvPr>
        </p:nvSpPr>
        <p:spPr>
          <a:xfrm>
            <a:off x="5298854" y="1302134"/>
            <a:ext cx="6283545" cy="4695895"/>
          </a:xfrm>
          <a:prstGeom prst="rect">
            <a:avLst/>
          </a:prstGeom>
        </p:spPr>
        <p:txBody>
          <a:bodyPr/>
          <a:lstStyle>
            <a:lvl1pPr>
              <a:defRPr sz="2400">
                <a:solidFill>
                  <a:schemeClr val="tx1">
                    <a:lumMod val="90000"/>
                    <a:lumOff val="10000"/>
                  </a:schemeClr>
                </a:solidFill>
              </a:defRPr>
            </a:lvl1pPr>
            <a:lvl2pPr>
              <a:defRPr sz="2133">
                <a:solidFill>
                  <a:schemeClr val="tx1">
                    <a:lumMod val="90000"/>
                    <a:lumOff val="10000"/>
                  </a:schemeClr>
                </a:solidFill>
              </a:defRPr>
            </a:lvl2pPr>
            <a:lvl3pPr>
              <a:defRPr sz="1867">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667"/>
            </a:lvl6pPr>
            <a:lvl7pPr>
              <a:defRPr sz="2667"/>
            </a:lvl7pPr>
            <a:lvl8pPr>
              <a:defRPr sz="2667"/>
            </a:lvl8pPr>
            <a:lvl9pPr>
              <a:defRPr sz="2667"/>
            </a:lvl9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texto 3"/>
          <p:cNvSpPr>
            <a:spLocks noGrp="1"/>
          </p:cNvSpPr>
          <p:nvPr>
            <p:ph type="body" sz="half" idx="2"/>
          </p:nvPr>
        </p:nvSpPr>
        <p:spPr>
          <a:xfrm>
            <a:off x="609602" y="3260501"/>
            <a:ext cx="3493009" cy="1086832"/>
          </a:xfrm>
          <a:prstGeom prst="rect">
            <a:avLst/>
          </a:prstGeom>
        </p:spPr>
        <p:txBody>
          <a:bodyPr/>
          <a:lstStyle>
            <a:lvl1pPr marL="0" indent="0">
              <a:buNone/>
              <a:defRPr sz="1867">
                <a:solidFill>
                  <a:srgbClr val="626363"/>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_tradnl" dirty="0"/>
              <a:t>Haga clic para modificar el estilo de texto del patrón</a:t>
            </a:r>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2"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pic>
        <p:nvPicPr>
          <p:cNvPr id="7" name="Imagen 6">
            <a:extLst>
              <a:ext uri="{FF2B5EF4-FFF2-40B4-BE49-F238E27FC236}">
                <a16:creationId xmlns:a16="http://schemas.microsoft.com/office/drawing/2014/main" id="{62519785-80CB-D207-7428-13A5E309B2EF}"/>
              </a:ext>
            </a:extLst>
          </p:cNvPr>
          <p:cNvPicPr>
            <a:picLocks noChangeAspect="1"/>
          </p:cNvPicPr>
          <p:nvPr userDrawn="1"/>
        </p:nvPicPr>
        <p:blipFill>
          <a:blip r:embed="rId2"/>
          <a:srcRect/>
          <a:stretch/>
        </p:blipFill>
        <p:spPr>
          <a:xfrm>
            <a:off x="10852390" y="204768"/>
            <a:ext cx="1003189" cy="1003189"/>
          </a:xfrm>
          <a:prstGeom prst="rect">
            <a:avLst/>
          </a:prstGeom>
        </p:spPr>
      </p:pic>
    </p:spTree>
    <p:extLst>
      <p:ext uri="{BB962C8B-B14F-4D97-AF65-F5344CB8AC3E}">
        <p14:creationId xmlns:p14="http://schemas.microsoft.com/office/powerpoint/2010/main" val="3045728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ontenido con título lateral">
    <p:spTree>
      <p:nvGrpSpPr>
        <p:cNvPr id="1" name=""/>
        <p:cNvGrpSpPr/>
        <p:nvPr/>
      </p:nvGrpSpPr>
      <p:grpSpPr>
        <a:xfrm>
          <a:off x="0" y="0"/>
          <a:ext cx="0" cy="0"/>
          <a:chOff x="0" y="0"/>
          <a:chExt cx="0" cy="0"/>
        </a:xfrm>
      </p:grpSpPr>
      <p:sp>
        <p:nvSpPr>
          <p:cNvPr id="5" name="Rectángulo 4"/>
          <p:cNvSpPr/>
          <p:nvPr userDrawn="1"/>
        </p:nvSpPr>
        <p:spPr>
          <a:xfrm>
            <a:off x="0" y="0"/>
            <a:ext cx="4620685" cy="6858000"/>
          </a:xfrm>
          <a:prstGeom prst="rect">
            <a:avLst/>
          </a:prstGeom>
          <a:solidFill>
            <a:srgbClr val="9D9D9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solidFill>
                <a:srgbClr val="9D9D9C"/>
              </a:solidFill>
            </a:endParaRPr>
          </a:p>
        </p:txBody>
      </p:sp>
      <p:sp>
        <p:nvSpPr>
          <p:cNvPr id="2" name="Título 1"/>
          <p:cNvSpPr>
            <a:spLocks noGrp="1"/>
          </p:cNvSpPr>
          <p:nvPr>
            <p:ph type="title" hasCustomPrompt="1"/>
          </p:nvPr>
        </p:nvSpPr>
        <p:spPr>
          <a:xfrm>
            <a:off x="5052384" y="996383"/>
            <a:ext cx="5803589" cy="527980"/>
          </a:xfrm>
          <a:prstGeom prst="rect">
            <a:avLst/>
          </a:prstGeom>
        </p:spPr>
        <p:txBody>
          <a:bodyPr anchor="t"/>
          <a:lstStyle>
            <a:lvl1pPr algn="l">
              <a:defRPr sz="3200" b="1">
                <a:solidFill>
                  <a:srgbClr val="0B4581"/>
                </a:solidFill>
              </a:defRPr>
            </a:lvl1pPr>
          </a:lstStyle>
          <a:p>
            <a:r>
              <a:rPr lang="es-ES_tradnl" dirty="0"/>
              <a:t>Clic para editar título</a:t>
            </a:r>
            <a:endParaRPr lang="es-ES" dirty="0"/>
          </a:p>
        </p:txBody>
      </p:sp>
      <p:grpSp>
        <p:nvGrpSpPr>
          <p:cNvPr id="8" name="Agrupar 7"/>
          <p:cNvGrpSpPr/>
          <p:nvPr userDrawn="1"/>
        </p:nvGrpSpPr>
        <p:grpSpPr>
          <a:xfrm>
            <a:off x="685941" y="1"/>
            <a:ext cx="10668044" cy="138791"/>
            <a:chOff x="514455" y="114984"/>
            <a:chExt cx="8001033" cy="181989"/>
          </a:xfrm>
        </p:grpSpPr>
        <p:sp>
          <p:nvSpPr>
            <p:cNvPr id="9" name="Rectángulo 8"/>
            <p:cNvSpPr/>
            <p:nvPr userDrawn="1"/>
          </p:nvSpPr>
          <p:spPr>
            <a:xfrm>
              <a:off x="514455" y="114984"/>
              <a:ext cx="3274833" cy="181989"/>
            </a:xfrm>
            <a:prstGeom prst="rect">
              <a:avLst/>
            </a:prstGeom>
            <a:solidFill>
              <a:srgbClr val="0F4E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sp>
          <p:nvSpPr>
            <p:cNvPr id="10" name="Rectángulo 9"/>
            <p:cNvSpPr/>
            <p:nvPr userDrawn="1"/>
          </p:nvSpPr>
          <p:spPr>
            <a:xfrm>
              <a:off x="3789288" y="114984"/>
              <a:ext cx="4726200" cy="181989"/>
            </a:xfrm>
            <a:prstGeom prst="rect">
              <a:avLst/>
            </a:prstGeom>
            <a:solidFill>
              <a:srgbClr val="E22D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67"/>
            </a:p>
          </p:txBody>
        </p:sp>
      </p:grpSp>
      <p:sp>
        <p:nvSpPr>
          <p:cNvPr id="12" name="Marcador de número de diapositiva 6"/>
          <p:cNvSpPr>
            <a:spLocks noGrp="1"/>
          </p:cNvSpPr>
          <p:nvPr>
            <p:ph type="sldNum" sz="quarter" idx="12"/>
          </p:nvPr>
        </p:nvSpPr>
        <p:spPr>
          <a:xfrm>
            <a:off x="9154005" y="6436746"/>
            <a:ext cx="2844800" cy="284729"/>
          </a:xfrm>
          <a:prstGeom prst="rect">
            <a:avLst/>
          </a:prstGeom>
        </p:spPr>
        <p:txBody>
          <a:bodyPr/>
          <a:lstStyle>
            <a:lvl1pPr algn="r">
              <a:defRPr sz="1200">
                <a:solidFill>
                  <a:schemeClr val="bg1">
                    <a:lumMod val="50000"/>
                  </a:schemeClr>
                </a:solidFill>
              </a:defRPr>
            </a:lvl1pPr>
          </a:lstStyle>
          <a:p>
            <a:fld id="{758EF458-5B7C-9F44-BB09-A6316498C081}" type="slidenum">
              <a:rPr lang="es-ES" smtClean="0"/>
              <a:pPr/>
              <a:t>‹Nº›</a:t>
            </a:fld>
            <a:endParaRPr lang="es-ES"/>
          </a:p>
        </p:txBody>
      </p:sp>
      <p:sp>
        <p:nvSpPr>
          <p:cNvPr id="6" name="Marcador de contenido 2">
            <a:extLst>
              <a:ext uri="{FF2B5EF4-FFF2-40B4-BE49-F238E27FC236}">
                <a16:creationId xmlns:a16="http://schemas.microsoft.com/office/drawing/2014/main" id="{40C417A0-693E-7145-E8B3-DD62FDC8E470}"/>
              </a:ext>
            </a:extLst>
          </p:cNvPr>
          <p:cNvSpPr>
            <a:spLocks noGrp="1"/>
          </p:cNvSpPr>
          <p:nvPr>
            <p:ph idx="13"/>
          </p:nvPr>
        </p:nvSpPr>
        <p:spPr>
          <a:xfrm>
            <a:off x="5052384" y="2841873"/>
            <a:ext cx="6180253" cy="3571024"/>
          </a:xfrm>
          <a:prstGeom prst="rect">
            <a:avLst/>
          </a:prstGeom>
        </p:spPr>
        <p:txBody>
          <a:bodyPr/>
          <a:lstStyle>
            <a:lvl1pPr>
              <a:lnSpc>
                <a:spcPct val="100000"/>
              </a:lnSpc>
              <a:defRPr sz="2133">
                <a:solidFill>
                  <a:schemeClr val="tx1">
                    <a:lumMod val="90000"/>
                    <a:lumOff val="10000"/>
                  </a:schemeClr>
                </a:solidFill>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14" name="Marcador de contenido 2">
            <a:extLst>
              <a:ext uri="{FF2B5EF4-FFF2-40B4-BE49-F238E27FC236}">
                <a16:creationId xmlns:a16="http://schemas.microsoft.com/office/drawing/2014/main" id="{66E281C0-873A-753E-487C-397C3324B4C9}"/>
              </a:ext>
            </a:extLst>
          </p:cNvPr>
          <p:cNvSpPr>
            <a:spLocks noGrp="1"/>
          </p:cNvSpPr>
          <p:nvPr>
            <p:ph idx="14" hasCustomPrompt="1"/>
          </p:nvPr>
        </p:nvSpPr>
        <p:spPr>
          <a:xfrm>
            <a:off x="5052384" y="1646457"/>
            <a:ext cx="6180253" cy="828991"/>
          </a:xfrm>
          <a:prstGeom prst="rect">
            <a:avLst/>
          </a:prstGeom>
        </p:spPr>
        <p:txBody>
          <a:bodyPr lIns="0" tIns="46800" rIns="0"/>
          <a:lstStyle>
            <a:lvl1pPr marL="143996" indent="0">
              <a:lnSpc>
                <a:spcPct val="100000"/>
              </a:lnSpc>
              <a:buNone/>
              <a:defRPr lang="es-ES_tradnl" sz="2400" b="0" kern="1200" dirty="0" smtClean="0">
                <a:solidFill>
                  <a:srgbClr val="0B4581"/>
                </a:solidFill>
                <a:latin typeface="Cambria"/>
                <a:ea typeface="+mj-ea"/>
                <a:cs typeface="Cambria"/>
              </a:defRPr>
            </a:lvl1pPr>
            <a:lvl2pPr>
              <a:lnSpc>
                <a:spcPct val="100000"/>
              </a:lnSpc>
              <a:defRPr>
                <a:solidFill>
                  <a:schemeClr val="tx1">
                    <a:lumMod val="90000"/>
                    <a:lumOff val="10000"/>
                  </a:schemeClr>
                </a:solidFill>
              </a:defRPr>
            </a:lvl2pPr>
            <a:lvl3pPr marL="1046374" indent="-211195">
              <a:lnSpc>
                <a:spcPct val="100000"/>
              </a:lnSpc>
              <a:buSzPct val="80000"/>
              <a:buFont typeface="Lucida Grande"/>
              <a:buChar char="-"/>
              <a:defRPr sz="2133">
                <a:solidFill>
                  <a:schemeClr val="tx1">
                    <a:lumMod val="90000"/>
                    <a:lumOff val="10000"/>
                  </a:schemeClr>
                </a:solidFill>
              </a:defRPr>
            </a:lvl3pPr>
            <a:lvl4pPr marL="1463963" indent="-211195">
              <a:lnSpc>
                <a:spcPct val="100000"/>
              </a:lnSpc>
              <a:buSzPct val="60000"/>
              <a:buFont typeface="Courier New"/>
              <a:buChar char="o"/>
              <a:defRPr lang="es-ES_tradnl" sz="1867" kern="1200" dirty="0" smtClean="0">
                <a:solidFill>
                  <a:schemeClr val="tx1">
                    <a:lumMod val="90000"/>
                    <a:lumOff val="10000"/>
                  </a:schemeClr>
                </a:solidFill>
                <a:latin typeface="Cambria"/>
                <a:ea typeface="+mn-ea"/>
                <a:cs typeface="Cambria"/>
              </a:defRPr>
            </a:lvl4pPr>
            <a:lvl5pPr marL="1881553" indent="-211195">
              <a:lnSpc>
                <a:spcPct val="100000"/>
              </a:lnSpc>
              <a:buSzPct val="70000"/>
              <a:defRPr lang="es-ES" sz="1867" kern="1200" dirty="0">
                <a:solidFill>
                  <a:schemeClr val="tx1">
                    <a:lumMod val="90000"/>
                    <a:lumOff val="10000"/>
                  </a:schemeClr>
                </a:solidFill>
                <a:latin typeface="Cambria"/>
                <a:ea typeface="+mn-ea"/>
                <a:cs typeface="Cambria"/>
              </a:defRPr>
            </a:lvl5pPr>
          </a:lstStyle>
          <a:p>
            <a:pPr lvl="0"/>
            <a:r>
              <a:rPr lang="es-ES_tradnl" dirty="0"/>
              <a:t>Haga clic para modificar el estilo de texto del patrón</a:t>
            </a:r>
          </a:p>
        </p:txBody>
      </p:sp>
      <p:sp>
        <p:nvSpPr>
          <p:cNvPr id="3" name="Título 1">
            <a:extLst>
              <a:ext uri="{FF2B5EF4-FFF2-40B4-BE49-F238E27FC236}">
                <a16:creationId xmlns:a16="http://schemas.microsoft.com/office/drawing/2014/main" id="{E197196C-479A-5759-A0C1-A71F7FDE591F}"/>
              </a:ext>
            </a:extLst>
          </p:cNvPr>
          <p:cNvSpPr txBox="1">
            <a:spLocks/>
          </p:cNvSpPr>
          <p:nvPr userDrawn="1"/>
        </p:nvSpPr>
        <p:spPr>
          <a:xfrm>
            <a:off x="609602" y="1997348"/>
            <a:ext cx="3493009" cy="1162051"/>
          </a:xfrm>
          <a:prstGeom prst="rect">
            <a:avLst/>
          </a:prstGeom>
        </p:spPr>
        <p:txBody>
          <a:bodyPr anchor="b"/>
          <a:lstStyle>
            <a:lvl1pPr algn="l" defTabSz="457200" rtl="0" eaLnBrk="1" latinLnBrk="0" hangingPunct="1">
              <a:spcBef>
                <a:spcPct val="0"/>
              </a:spcBef>
              <a:buNone/>
              <a:defRPr sz="2000" b="1" kern="1200">
                <a:solidFill>
                  <a:srgbClr val="0C4681"/>
                </a:solidFill>
                <a:latin typeface="Cambria"/>
                <a:ea typeface="+mj-ea"/>
                <a:cs typeface="Cambria"/>
              </a:defRPr>
            </a:lvl1pPr>
          </a:lstStyle>
          <a:p>
            <a:r>
              <a:rPr lang="es-ES_tradnl" sz="2667" dirty="0">
                <a:solidFill>
                  <a:schemeClr val="bg1"/>
                </a:solidFill>
              </a:rPr>
              <a:t>Clic para editar título</a:t>
            </a:r>
            <a:endParaRPr lang="es-ES" sz="2667" dirty="0">
              <a:solidFill>
                <a:schemeClr val="bg1"/>
              </a:solidFill>
            </a:endParaRPr>
          </a:p>
        </p:txBody>
      </p:sp>
      <p:sp>
        <p:nvSpPr>
          <p:cNvPr id="4" name="Marcador de texto 3">
            <a:extLst>
              <a:ext uri="{FF2B5EF4-FFF2-40B4-BE49-F238E27FC236}">
                <a16:creationId xmlns:a16="http://schemas.microsoft.com/office/drawing/2014/main" id="{D9D46C91-8E2D-3F3A-371D-E2B822435ED0}"/>
              </a:ext>
            </a:extLst>
          </p:cNvPr>
          <p:cNvSpPr>
            <a:spLocks noGrp="1"/>
          </p:cNvSpPr>
          <p:nvPr>
            <p:ph type="body" sz="half" idx="2"/>
          </p:nvPr>
        </p:nvSpPr>
        <p:spPr>
          <a:xfrm>
            <a:off x="609602" y="3260501"/>
            <a:ext cx="3493009" cy="1086832"/>
          </a:xfrm>
          <a:prstGeom prst="rect">
            <a:avLst/>
          </a:prstGeom>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s-ES_tradnl" dirty="0"/>
              <a:t>Haga clic para modificar el estilo de texto del patrón</a:t>
            </a:r>
          </a:p>
        </p:txBody>
      </p:sp>
      <p:pic>
        <p:nvPicPr>
          <p:cNvPr id="11" name="Imagen 10">
            <a:extLst>
              <a:ext uri="{FF2B5EF4-FFF2-40B4-BE49-F238E27FC236}">
                <a16:creationId xmlns:a16="http://schemas.microsoft.com/office/drawing/2014/main" id="{451F0268-2DA6-60E9-C52A-57609DC65ACC}"/>
              </a:ext>
            </a:extLst>
          </p:cNvPr>
          <p:cNvPicPr>
            <a:picLocks noChangeAspect="1"/>
          </p:cNvPicPr>
          <p:nvPr userDrawn="1"/>
        </p:nvPicPr>
        <p:blipFill>
          <a:blip r:embed="rId2"/>
          <a:srcRect/>
          <a:stretch/>
        </p:blipFill>
        <p:spPr>
          <a:xfrm>
            <a:off x="10852390" y="204768"/>
            <a:ext cx="1003189" cy="1003189"/>
          </a:xfrm>
          <a:prstGeom prst="rect">
            <a:avLst/>
          </a:prstGeom>
        </p:spPr>
      </p:pic>
    </p:spTree>
    <p:extLst>
      <p:ext uri="{BB962C8B-B14F-4D97-AF65-F5344CB8AC3E}">
        <p14:creationId xmlns:p14="http://schemas.microsoft.com/office/powerpoint/2010/main" val="2667981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s-CL"/>
              <a:t>‹Nº›</a:t>
            </a:fld>
            <a:endParaRPr/>
          </a:p>
        </p:txBody>
      </p:sp>
      <p:pic>
        <p:nvPicPr>
          <p:cNvPr id="7" name="Google Shape;136;p6"/>
          <p:cNvPicPr preferRelativeResize="0"/>
          <p:nvPr userDrawn="1"/>
        </p:nvPicPr>
        <p:blipFill rotWithShape="1">
          <a:blip r:embed="rId29">
            <a:alphaModFix/>
          </a:blip>
          <a:srcRect/>
          <a:stretch/>
        </p:blipFill>
        <p:spPr>
          <a:xfrm>
            <a:off x="4222052" y="6672649"/>
            <a:ext cx="3640297" cy="185351"/>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49" r:id="rId18"/>
    <p:sldLayoutId id="2147483651" r:id="rId19"/>
    <p:sldLayoutId id="2147483652" r:id="rId20"/>
    <p:sldLayoutId id="2147483653" r:id="rId21"/>
    <p:sldLayoutId id="2147483655" r:id="rId22"/>
    <p:sldLayoutId id="2147483656" r:id="rId23"/>
    <p:sldLayoutId id="2147483657" r:id="rId24"/>
    <p:sldLayoutId id="2147483658" r:id="rId25"/>
    <p:sldLayoutId id="2147483659" r:id="rId26"/>
    <p:sldLayoutId id="2147483661" r:id="rId2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9.jpeg"/><Relationship Id="rId7" Type="http://schemas.openxmlformats.org/officeDocument/2006/relationships/diagramColors" Target="../diagrams/colors2.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BB74E65-FEF2-7999-F387-A0A4726A173E}"/>
              </a:ext>
            </a:extLst>
          </p:cNvPr>
          <p:cNvSpPr>
            <a:spLocks noGrp="1"/>
          </p:cNvSpPr>
          <p:nvPr>
            <p:ph type="title"/>
          </p:nvPr>
        </p:nvSpPr>
        <p:spPr>
          <a:xfrm>
            <a:off x="838198" y="2876253"/>
            <a:ext cx="10515600" cy="675412"/>
          </a:xfrm>
        </p:spPr>
        <p:txBody>
          <a:bodyPr>
            <a:normAutofit fontScale="90000"/>
          </a:bodyPr>
          <a:lstStyle/>
          <a:p>
            <a:r>
              <a:rPr lang="es-MX" dirty="0"/>
              <a:t>INDICACIONES PROYECTO DE LEY BOLETIN </a:t>
            </a:r>
            <a:r>
              <a:rPr lang="es-MX" dirty="0" err="1"/>
              <a:t>N°</a:t>
            </a:r>
            <a:r>
              <a:rPr lang="es-MX" dirty="0"/>
              <a:t> 13.806 Y REFUNDIDOS</a:t>
            </a:r>
            <a:br>
              <a:rPr lang="es-MX" dirty="0"/>
            </a:br>
            <a:endParaRPr lang="es-CL" dirty="0"/>
          </a:p>
        </p:txBody>
      </p:sp>
      <p:sp>
        <p:nvSpPr>
          <p:cNvPr id="3" name="Marcador de texto 2">
            <a:extLst>
              <a:ext uri="{FF2B5EF4-FFF2-40B4-BE49-F238E27FC236}">
                <a16:creationId xmlns:a16="http://schemas.microsoft.com/office/drawing/2014/main" id="{D3D01EFB-B601-5C75-2E31-83BB66B9B1C2}"/>
              </a:ext>
            </a:extLst>
          </p:cNvPr>
          <p:cNvSpPr>
            <a:spLocks noGrp="1"/>
          </p:cNvSpPr>
          <p:nvPr>
            <p:ph type="body" sz="quarter" idx="11"/>
          </p:nvPr>
        </p:nvSpPr>
        <p:spPr>
          <a:xfrm>
            <a:off x="2882211" y="5537774"/>
            <a:ext cx="6427575" cy="491905"/>
          </a:xfrm>
        </p:spPr>
        <p:txBody>
          <a:bodyPr/>
          <a:lstStyle/>
          <a:p>
            <a:r>
              <a:rPr lang="es-CL" sz="2000" dirty="0">
                <a:sym typeface="Verdana"/>
              </a:rPr>
              <a:t>23 de abril de 2024</a:t>
            </a:r>
            <a:endParaRPr lang="es-CL" sz="2000" dirty="0"/>
          </a:p>
          <a:p>
            <a:endParaRPr lang="es-CL" sz="2000" dirty="0"/>
          </a:p>
        </p:txBody>
      </p:sp>
      <p:sp>
        <p:nvSpPr>
          <p:cNvPr id="4" name="Título 1">
            <a:extLst>
              <a:ext uri="{FF2B5EF4-FFF2-40B4-BE49-F238E27FC236}">
                <a16:creationId xmlns:a16="http://schemas.microsoft.com/office/drawing/2014/main" id="{FDC4BB1E-ED2F-35FE-330F-9CE880D3D7FF}"/>
              </a:ext>
            </a:extLst>
          </p:cNvPr>
          <p:cNvSpPr txBox="1">
            <a:spLocks/>
          </p:cNvSpPr>
          <p:nvPr/>
        </p:nvSpPr>
        <p:spPr>
          <a:xfrm>
            <a:off x="838199" y="2972505"/>
            <a:ext cx="10515600" cy="675412"/>
          </a:xfrm>
          <a:prstGeom prst="rect">
            <a:avLst/>
          </a:prstGeom>
          <a:noFill/>
          <a:ln>
            <a:noFill/>
          </a:ln>
        </p:spPr>
        <p:txBody>
          <a:bodyPr spcFirstLastPara="1" wrap="square" lIns="91425" tIns="45700" rIns="91425" bIns="45700" anchor="ctr" anchorCtr="0">
            <a:normAutofit fontScale="97500"/>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4400"/>
              <a:buFont typeface="Calibri"/>
              <a:buNone/>
              <a:defRPr sz="3733" b="1" i="0" u="none" strike="noStrike" cap="none">
                <a:solidFill>
                  <a:schemeClr val="bg1"/>
                </a:solidFill>
                <a:latin typeface="Verdana" panose="020B0604030504040204" pitchFamily="34" charset="0"/>
                <a:ea typeface="Verdana" panose="020B0604030504040204" pitchFamily="34" charset="0"/>
                <a:cs typeface="Verdana" panose="020B0604030504040204" pitchFamily="34" charset="0"/>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lang="es-CL" dirty="0"/>
          </a:p>
        </p:txBody>
      </p:sp>
    </p:spTree>
    <p:extLst>
      <p:ext uri="{BB962C8B-B14F-4D97-AF65-F5344CB8AC3E}">
        <p14:creationId xmlns:p14="http://schemas.microsoft.com/office/powerpoint/2010/main" val="2612811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590660"/>
            <a:ext cx="8589684" cy="544227"/>
          </a:xfrm>
        </p:spPr>
        <p:txBody>
          <a:bodyPr>
            <a:normAutofit fontScale="90000"/>
          </a:bodyPr>
          <a:lstStyle/>
          <a:p>
            <a:r>
              <a:rPr lang="es-CL" dirty="0"/>
              <a:t>Articulado propuesto</a:t>
            </a:r>
            <a:br>
              <a:rPr lang="es-CL" dirty="0"/>
            </a:br>
            <a:r>
              <a:rPr lang="es-CL" sz="3600" dirty="0"/>
              <a:t>De lo particular (ámbitos de acción)</a:t>
            </a:r>
            <a:endParaRPr lang="es-CL" dirty="0"/>
          </a:p>
        </p:txBody>
      </p:sp>
      <p:graphicFrame>
        <p:nvGraphicFramePr>
          <p:cNvPr id="6" name="Diagrama 5">
            <a:extLst>
              <a:ext uri="{FF2B5EF4-FFF2-40B4-BE49-F238E27FC236}">
                <a16:creationId xmlns:a16="http://schemas.microsoft.com/office/drawing/2014/main" id="{BA024B76-8693-B671-FE31-FA65B7AAD196}"/>
              </a:ext>
            </a:extLst>
          </p:cNvPr>
          <p:cNvGraphicFramePr/>
          <p:nvPr>
            <p:extLst>
              <p:ext uri="{D42A27DB-BD31-4B8C-83A1-F6EECF244321}">
                <p14:modId xmlns:p14="http://schemas.microsoft.com/office/powerpoint/2010/main" val="3981798717"/>
              </p:ext>
            </p:extLst>
          </p:nvPr>
        </p:nvGraphicFramePr>
        <p:xfrm>
          <a:off x="609600" y="1744579"/>
          <a:ext cx="8128000" cy="43554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ángulo: esquinas redondeadas 7">
            <a:extLst>
              <a:ext uri="{FF2B5EF4-FFF2-40B4-BE49-F238E27FC236}">
                <a16:creationId xmlns:a16="http://schemas.microsoft.com/office/drawing/2014/main" id="{5D7CC5C3-9756-24A6-3CED-4136EDF0EF16}"/>
              </a:ext>
            </a:extLst>
          </p:cNvPr>
          <p:cNvSpPr/>
          <p:nvPr/>
        </p:nvSpPr>
        <p:spPr>
          <a:xfrm>
            <a:off x="9300411" y="5137484"/>
            <a:ext cx="2045368" cy="34891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NUEVO</a:t>
            </a:r>
          </a:p>
        </p:txBody>
      </p:sp>
      <p:sp>
        <p:nvSpPr>
          <p:cNvPr id="9" name="Rectángulo: esquinas redondeadas 8">
            <a:extLst>
              <a:ext uri="{FF2B5EF4-FFF2-40B4-BE49-F238E27FC236}">
                <a16:creationId xmlns:a16="http://schemas.microsoft.com/office/drawing/2014/main" id="{C074B09A-9E99-07F5-6471-7C8A92391F6E}"/>
              </a:ext>
            </a:extLst>
          </p:cNvPr>
          <p:cNvSpPr/>
          <p:nvPr/>
        </p:nvSpPr>
        <p:spPr>
          <a:xfrm>
            <a:off x="9300411" y="5616742"/>
            <a:ext cx="2045368" cy="348916"/>
          </a:xfrm>
          <a:prstGeom prst="round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ACTUALIZADO</a:t>
            </a:r>
          </a:p>
        </p:txBody>
      </p:sp>
    </p:spTree>
    <p:extLst>
      <p:ext uri="{BB962C8B-B14F-4D97-AF65-F5344CB8AC3E}">
        <p14:creationId xmlns:p14="http://schemas.microsoft.com/office/powerpoint/2010/main" val="979770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590660"/>
            <a:ext cx="8589684" cy="544227"/>
          </a:xfrm>
        </p:spPr>
        <p:txBody>
          <a:bodyPr>
            <a:normAutofit fontScale="90000"/>
          </a:bodyPr>
          <a:lstStyle/>
          <a:p>
            <a:r>
              <a:rPr lang="es-CL" dirty="0"/>
              <a:t>Articulado propuesto</a:t>
            </a:r>
            <a:br>
              <a:rPr lang="es-CL" dirty="0"/>
            </a:br>
            <a:r>
              <a:rPr lang="es-CL" sz="3600" dirty="0"/>
              <a:t>De lo particular (ámbitos de acción)</a:t>
            </a:r>
            <a:endParaRPr lang="es-CL" dirty="0"/>
          </a:p>
        </p:txBody>
      </p:sp>
      <p:graphicFrame>
        <p:nvGraphicFramePr>
          <p:cNvPr id="6" name="Diagrama 5">
            <a:extLst>
              <a:ext uri="{FF2B5EF4-FFF2-40B4-BE49-F238E27FC236}">
                <a16:creationId xmlns:a16="http://schemas.microsoft.com/office/drawing/2014/main" id="{BA024B76-8693-B671-FE31-FA65B7AAD196}"/>
              </a:ext>
            </a:extLst>
          </p:cNvPr>
          <p:cNvGraphicFramePr/>
          <p:nvPr>
            <p:extLst>
              <p:ext uri="{D42A27DB-BD31-4B8C-83A1-F6EECF244321}">
                <p14:modId xmlns:p14="http://schemas.microsoft.com/office/powerpoint/2010/main" val="2740640761"/>
              </p:ext>
            </p:extLst>
          </p:nvPr>
        </p:nvGraphicFramePr>
        <p:xfrm>
          <a:off x="609600" y="1744580"/>
          <a:ext cx="8128000" cy="32793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ángulo: esquinas redondeadas 7">
            <a:extLst>
              <a:ext uri="{FF2B5EF4-FFF2-40B4-BE49-F238E27FC236}">
                <a16:creationId xmlns:a16="http://schemas.microsoft.com/office/drawing/2014/main" id="{5D7CC5C3-9756-24A6-3CED-4136EDF0EF16}"/>
              </a:ext>
            </a:extLst>
          </p:cNvPr>
          <p:cNvSpPr/>
          <p:nvPr/>
        </p:nvSpPr>
        <p:spPr>
          <a:xfrm>
            <a:off x="9300411" y="5137484"/>
            <a:ext cx="2045368" cy="34891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NUEVO</a:t>
            </a:r>
          </a:p>
        </p:txBody>
      </p:sp>
      <p:sp>
        <p:nvSpPr>
          <p:cNvPr id="9" name="Rectángulo: esquinas redondeadas 8">
            <a:extLst>
              <a:ext uri="{FF2B5EF4-FFF2-40B4-BE49-F238E27FC236}">
                <a16:creationId xmlns:a16="http://schemas.microsoft.com/office/drawing/2014/main" id="{C074B09A-9E99-07F5-6471-7C8A92391F6E}"/>
              </a:ext>
            </a:extLst>
          </p:cNvPr>
          <p:cNvSpPr/>
          <p:nvPr/>
        </p:nvSpPr>
        <p:spPr>
          <a:xfrm>
            <a:off x="9300411" y="5616742"/>
            <a:ext cx="2045368" cy="348916"/>
          </a:xfrm>
          <a:prstGeom prst="round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ACTUALIZADO</a:t>
            </a:r>
          </a:p>
        </p:txBody>
      </p:sp>
    </p:spTree>
    <p:extLst>
      <p:ext uri="{BB962C8B-B14F-4D97-AF65-F5344CB8AC3E}">
        <p14:creationId xmlns:p14="http://schemas.microsoft.com/office/powerpoint/2010/main" val="26406192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590660"/>
            <a:ext cx="8589684" cy="544227"/>
          </a:xfrm>
        </p:spPr>
        <p:txBody>
          <a:bodyPr>
            <a:normAutofit fontScale="90000"/>
          </a:bodyPr>
          <a:lstStyle/>
          <a:p>
            <a:r>
              <a:rPr lang="es-CL" dirty="0"/>
              <a:t>Articulado propuesto</a:t>
            </a:r>
            <a:br>
              <a:rPr lang="es-CL" dirty="0"/>
            </a:br>
            <a:r>
              <a:rPr lang="es-CL" sz="3600" dirty="0"/>
              <a:t>De lo particular (ámbitos de acción)</a:t>
            </a:r>
            <a:endParaRPr lang="es-CL" dirty="0"/>
          </a:p>
        </p:txBody>
      </p:sp>
      <p:graphicFrame>
        <p:nvGraphicFramePr>
          <p:cNvPr id="6" name="Diagrama 5">
            <a:extLst>
              <a:ext uri="{FF2B5EF4-FFF2-40B4-BE49-F238E27FC236}">
                <a16:creationId xmlns:a16="http://schemas.microsoft.com/office/drawing/2014/main" id="{BA024B76-8693-B671-FE31-FA65B7AAD196}"/>
              </a:ext>
            </a:extLst>
          </p:cNvPr>
          <p:cNvGraphicFramePr/>
          <p:nvPr>
            <p:extLst>
              <p:ext uri="{D42A27DB-BD31-4B8C-83A1-F6EECF244321}">
                <p14:modId xmlns:p14="http://schemas.microsoft.com/office/powerpoint/2010/main" val="2498507244"/>
              </p:ext>
            </p:extLst>
          </p:nvPr>
        </p:nvGraphicFramePr>
        <p:xfrm>
          <a:off x="609600" y="1744579"/>
          <a:ext cx="8128000" cy="38721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ángulo: esquinas redondeadas 7">
            <a:extLst>
              <a:ext uri="{FF2B5EF4-FFF2-40B4-BE49-F238E27FC236}">
                <a16:creationId xmlns:a16="http://schemas.microsoft.com/office/drawing/2014/main" id="{5D7CC5C3-9756-24A6-3CED-4136EDF0EF16}"/>
              </a:ext>
            </a:extLst>
          </p:cNvPr>
          <p:cNvSpPr/>
          <p:nvPr/>
        </p:nvSpPr>
        <p:spPr>
          <a:xfrm>
            <a:off x="9300411" y="5137484"/>
            <a:ext cx="2045368" cy="34891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NUEVO</a:t>
            </a:r>
          </a:p>
        </p:txBody>
      </p:sp>
      <p:sp>
        <p:nvSpPr>
          <p:cNvPr id="9" name="Rectángulo: esquinas redondeadas 8">
            <a:extLst>
              <a:ext uri="{FF2B5EF4-FFF2-40B4-BE49-F238E27FC236}">
                <a16:creationId xmlns:a16="http://schemas.microsoft.com/office/drawing/2014/main" id="{C074B09A-9E99-07F5-6471-7C8A92391F6E}"/>
              </a:ext>
            </a:extLst>
          </p:cNvPr>
          <p:cNvSpPr/>
          <p:nvPr/>
        </p:nvSpPr>
        <p:spPr>
          <a:xfrm>
            <a:off x="9300411" y="5616742"/>
            <a:ext cx="2045368" cy="348916"/>
          </a:xfrm>
          <a:prstGeom prst="round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ACTUALIZADO</a:t>
            </a:r>
          </a:p>
        </p:txBody>
      </p:sp>
    </p:spTree>
    <p:extLst>
      <p:ext uri="{BB962C8B-B14F-4D97-AF65-F5344CB8AC3E}">
        <p14:creationId xmlns:p14="http://schemas.microsoft.com/office/powerpoint/2010/main" val="7520676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2740915134"/>
              </p:ext>
            </p:extLst>
          </p:nvPr>
        </p:nvGraphicFramePr>
        <p:xfrm>
          <a:off x="704193" y="1660634"/>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3384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707412063"/>
              </p:ext>
            </p:extLst>
          </p:nvPr>
        </p:nvGraphicFramePr>
        <p:xfrm>
          <a:off x="704193" y="1660634"/>
          <a:ext cx="10815145" cy="48484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4078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3074664594"/>
              </p:ext>
            </p:extLst>
          </p:nvPr>
        </p:nvGraphicFramePr>
        <p:xfrm>
          <a:off x="688427" y="1632007"/>
          <a:ext cx="10815145" cy="4949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511453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372416905"/>
              </p:ext>
            </p:extLst>
          </p:nvPr>
        </p:nvGraphicFramePr>
        <p:xfrm>
          <a:off x="688427" y="1692165"/>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81196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1632094349"/>
              </p:ext>
            </p:extLst>
          </p:nvPr>
        </p:nvGraphicFramePr>
        <p:xfrm>
          <a:off x="704193" y="1660634"/>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286786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1845204414"/>
              </p:ext>
            </p:extLst>
          </p:nvPr>
        </p:nvGraphicFramePr>
        <p:xfrm>
          <a:off x="688427" y="1692165"/>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6479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1861421335"/>
              </p:ext>
            </p:extLst>
          </p:nvPr>
        </p:nvGraphicFramePr>
        <p:xfrm>
          <a:off x="688427" y="1692165"/>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4097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noFill/>
          <a:ln>
            <a:noFill/>
          </a:ln>
        </p:spPr>
        <p:txBody>
          <a:bodyPr spcFirstLastPara="1" wrap="square" lIns="91425" tIns="45700" rIns="91425" bIns="45700" anchor="ctr" anchorCtr="0">
            <a:normAutofit fontScale="90000"/>
          </a:bodyPr>
          <a:lstStyle/>
          <a:p>
            <a:r>
              <a:rPr lang="es-ES_tradnl" dirty="0">
                <a:solidFill>
                  <a:schemeClr val="accent1">
                    <a:lumMod val="50000"/>
                  </a:schemeClr>
                </a:solidFill>
                <a:latin typeface="Calibri" panose="020F0502020204030204" pitchFamily="34" charset="0"/>
                <a:cs typeface="Calibri" panose="020F0502020204030204" pitchFamily="34" charset="0"/>
              </a:rPr>
              <a:t>CONTEXTO RELEVANTE A CONSIDERAR</a:t>
            </a:r>
          </a:p>
        </p:txBody>
      </p:sp>
      <p:graphicFrame>
        <p:nvGraphicFramePr>
          <p:cNvPr id="5" name="Diagrama 4">
            <a:extLst>
              <a:ext uri="{FF2B5EF4-FFF2-40B4-BE49-F238E27FC236}">
                <a16:creationId xmlns:a16="http://schemas.microsoft.com/office/drawing/2014/main" id="{0264CA00-A445-4AB5-855E-E0FDE4B2FE1A}"/>
              </a:ext>
            </a:extLst>
          </p:cNvPr>
          <p:cNvGraphicFramePr/>
          <p:nvPr/>
        </p:nvGraphicFramePr>
        <p:xfrm>
          <a:off x="1608769" y="1328929"/>
          <a:ext cx="8536548" cy="51071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43398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3179833371"/>
              </p:ext>
            </p:extLst>
          </p:nvPr>
        </p:nvGraphicFramePr>
        <p:xfrm>
          <a:off x="688427" y="1692165"/>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49275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1">
            <a:extLst>
              <a:ext uri="{FF2B5EF4-FFF2-40B4-BE49-F238E27FC236}">
                <a16:creationId xmlns:a16="http://schemas.microsoft.com/office/drawing/2014/main" id="{A25E0A6E-09C0-821D-16B5-F8F74D9B4BB0}"/>
              </a:ext>
            </a:extLst>
          </p:cNvPr>
          <p:cNvSpPr>
            <a:spLocks noGrp="1"/>
          </p:cNvSpPr>
          <p:nvPr>
            <p:ph type="title"/>
          </p:nvPr>
        </p:nvSpPr>
        <p:spPr>
          <a:xfrm>
            <a:off x="609599" y="590660"/>
            <a:ext cx="9848193" cy="544227"/>
          </a:xfrm>
        </p:spPr>
        <p:txBody>
          <a:bodyPr>
            <a:normAutofit fontScale="90000"/>
          </a:bodyPr>
          <a:lstStyle/>
          <a:p>
            <a:r>
              <a:rPr lang="es-CL" dirty="0"/>
              <a:t>Articulado propuesto</a:t>
            </a:r>
            <a:br>
              <a:rPr lang="es-CL" dirty="0"/>
            </a:br>
            <a:r>
              <a:rPr lang="es-CL" sz="3600" dirty="0"/>
              <a:t>De lo general (especificaciones que se aplican a todos/as)</a:t>
            </a:r>
            <a:endParaRPr lang="es-CL" dirty="0"/>
          </a:p>
        </p:txBody>
      </p:sp>
      <p:graphicFrame>
        <p:nvGraphicFramePr>
          <p:cNvPr id="10" name="Diagrama 9">
            <a:extLst>
              <a:ext uri="{FF2B5EF4-FFF2-40B4-BE49-F238E27FC236}">
                <a16:creationId xmlns:a16="http://schemas.microsoft.com/office/drawing/2014/main" id="{39EA6D04-7CC1-8806-3698-D18859DFEEA5}"/>
              </a:ext>
            </a:extLst>
          </p:cNvPr>
          <p:cNvGraphicFramePr/>
          <p:nvPr>
            <p:extLst>
              <p:ext uri="{D42A27DB-BD31-4B8C-83A1-F6EECF244321}">
                <p14:modId xmlns:p14="http://schemas.microsoft.com/office/powerpoint/2010/main" val="4042193031"/>
              </p:ext>
            </p:extLst>
          </p:nvPr>
        </p:nvGraphicFramePr>
        <p:xfrm>
          <a:off x="688427" y="1639613"/>
          <a:ext cx="10815145" cy="43302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52757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1596313"/>
            <a:ext cx="10478814" cy="544227"/>
          </a:xfrm>
        </p:spPr>
        <p:txBody>
          <a:bodyPr>
            <a:normAutofit fontScale="90000"/>
          </a:bodyPr>
          <a:lstStyle/>
          <a:p>
            <a:r>
              <a:rPr lang="es-CL" dirty="0"/>
              <a:t>Articulado propuesto</a:t>
            </a:r>
            <a:br>
              <a:rPr lang="es-CL" dirty="0"/>
            </a:br>
            <a:r>
              <a:rPr lang="es-CL" sz="3100" dirty="0"/>
              <a:t>Artículo 2°. </a:t>
            </a:r>
            <a:r>
              <a:rPr lang="es-MX" sz="3100" dirty="0" err="1"/>
              <a:t>Reemplázase</a:t>
            </a:r>
            <a:r>
              <a:rPr lang="es-MX" sz="3100" dirty="0"/>
              <a:t> el inciso final del artículo 9° de la ley N°20.584 que regula los derechos y deberes que tienen las personas en relación con acciones vinculadas a su atención en salud, por el siguiente:</a:t>
            </a:r>
            <a:br>
              <a:rPr lang="es-MX" sz="3100" dirty="0"/>
            </a:br>
            <a:endParaRPr lang="es-CL" dirty="0"/>
          </a:p>
        </p:txBody>
      </p:sp>
      <p:graphicFrame>
        <p:nvGraphicFramePr>
          <p:cNvPr id="6" name="Marcador de contenido 3">
            <a:extLst>
              <a:ext uri="{FF2B5EF4-FFF2-40B4-BE49-F238E27FC236}">
                <a16:creationId xmlns:a16="http://schemas.microsoft.com/office/drawing/2014/main" id="{5A8B9E1E-AC40-648C-2673-1D2878B8EA9F}"/>
              </a:ext>
            </a:extLst>
          </p:cNvPr>
          <p:cNvGraphicFramePr>
            <a:graphicFrameLocks noGrp="1"/>
          </p:cNvGraphicFramePr>
          <p:nvPr>
            <p:ph idx="1"/>
            <p:extLst>
              <p:ext uri="{D42A27DB-BD31-4B8C-83A1-F6EECF244321}">
                <p14:modId xmlns:p14="http://schemas.microsoft.com/office/powerpoint/2010/main" val="3572979424"/>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8188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1079621"/>
            <a:ext cx="10478814" cy="544227"/>
          </a:xfrm>
        </p:spPr>
        <p:txBody>
          <a:bodyPr>
            <a:normAutofit fontScale="90000"/>
          </a:bodyPr>
          <a:lstStyle/>
          <a:p>
            <a:r>
              <a:rPr lang="es-CL" dirty="0"/>
              <a:t>Articulado propuesto</a:t>
            </a:r>
            <a:br>
              <a:rPr lang="es-CL" dirty="0"/>
            </a:br>
            <a:r>
              <a:rPr lang="es-MX" sz="3100" dirty="0"/>
              <a:t>Artículo primero transitorio.- Dentro del plazo de </a:t>
            </a:r>
            <a:r>
              <a:rPr lang="es-MX" sz="3100" b="1" dirty="0"/>
              <a:t>veinticuatro meses </a:t>
            </a:r>
            <a:r>
              <a:rPr lang="es-MX" sz="3100" dirty="0"/>
              <a:t>contados desde la publicación de esta ley, el Ministerio de Salud deberá:</a:t>
            </a:r>
            <a:endParaRPr lang="es-CL" dirty="0"/>
          </a:p>
        </p:txBody>
      </p:sp>
      <p:graphicFrame>
        <p:nvGraphicFramePr>
          <p:cNvPr id="6" name="Marcador de contenido 3">
            <a:extLst>
              <a:ext uri="{FF2B5EF4-FFF2-40B4-BE49-F238E27FC236}">
                <a16:creationId xmlns:a16="http://schemas.microsoft.com/office/drawing/2014/main" id="{5A8B9E1E-AC40-648C-2673-1D2878B8EA9F}"/>
              </a:ext>
            </a:extLst>
          </p:cNvPr>
          <p:cNvGraphicFramePr>
            <a:graphicFrameLocks noGrp="1"/>
          </p:cNvGraphicFramePr>
          <p:nvPr>
            <p:ph idx="1"/>
            <p:extLst>
              <p:ext uri="{D42A27DB-BD31-4B8C-83A1-F6EECF244321}">
                <p14:modId xmlns:p14="http://schemas.microsoft.com/office/powerpoint/2010/main" val="600950371"/>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86194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868471"/>
            <a:ext cx="10478814" cy="544227"/>
          </a:xfrm>
        </p:spPr>
        <p:txBody>
          <a:bodyPr>
            <a:normAutofit fontScale="90000"/>
          </a:bodyPr>
          <a:lstStyle/>
          <a:p>
            <a:r>
              <a:rPr lang="es-CL" dirty="0"/>
              <a:t>Articulado propuesto</a:t>
            </a:r>
            <a:br>
              <a:rPr lang="es-CL" dirty="0"/>
            </a:br>
            <a:r>
              <a:rPr lang="es-MX" sz="3100" dirty="0"/>
              <a:t>Artículo segundo transitorio:</a:t>
            </a:r>
            <a:endParaRPr lang="es-CL" dirty="0"/>
          </a:p>
        </p:txBody>
      </p:sp>
      <p:graphicFrame>
        <p:nvGraphicFramePr>
          <p:cNvPr id="6" name="Marcador de contenido 3">
            <a:extLst>
              <a:ext uri="{FF2B5EF4-FFF2-40B4-BE49-F238E27FC236}">
                <a16:creationId xmlns:a16="http://schemas.microsoft.com/office/drawing/2014/main" id="{5A8B9E1E-AC40-648C-2673-1D2878B8EA9F}"/>
              </a:ext>
            </a:extLst>
          </p:cNvPr>
          <p:cNvGraphicFramePr>
            <a:graphicFrameLocks noGrp="1"/>
          </p:cNvGraphicFramePr>
          <p:nvPr>
            <p:ph idx="1"/>
            <p:extLst>
              <p:ext uri="{D42A27DB-BD31-4B8C-83A1-F6EECF244321}">
                <p14:modId xmlns:p14="http://schemas.microsoft.com/office/powerpoint/2010/main" val="137451969"/>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3129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36AB1E24-8667-428B-9C25-B315449EA081}"/>
              </a:ext>
            </a:extLst>
          </p:cNvPr>
          <p:cNvSpPr>
            <a:spLocks noGrp="1"/>
          </p:cNvSpPr>
          <p:nvPr>
            <p:ph type="title"/>
          </p:nvPr>
        </p:nvSpPr>
        <p:spPr/>
        <p:txBody>
          <a:bodyPr anchor="ctr"/>
          <a:lstStyle/>
          <a:p>
            <a:pPr algn="l"/>
            <a:r>
              <a:rPr lang="es-CL" sz="3200" dirty="0">
                <a:solidFill>
                  <a:srgbClr val="002060"/>
                </a:solidFill>
                <a:latin typeface="Candara" panose="020E0502030303020204" pitchFamily="34" charset="0"/>
                <a:cs typeface="Calibri Light" panose="020F0302020204030204" pitchFamily="34" charset="0"/>
              </a:rPr>
              <a:t>Algunas Recomendaciones del Informe Técnico</a:t>
            </a:r>
          </a:p>
        </p:txBody>
      </p:sp>
      <p:sp>
        <p:nvSpPr>
          <p:cNvPr id="6" name="Rectangle 2">
            <a:extLst>
              <a:ext uri="{FF2B5EF4-FFF2-40B4-BE49-F238E27FC236}">
                <a16:creationId xmlns:a16="http://schemas.microsoft.com/office/drawing/2014/main" id="{81CCADD0-EA32-465E-BBB8-300FE94688E9}"/>
              </a:ext>
            </a:extLst>
          </p:cNvPr>
          <p:cNvSpPr>
            <a:spLocks noChangeArrowheads="1"/>
          </p:cNvSpPr>
          <p:nvPr/>
        </p:nvSpPr>
        <p:spPr bwMode="auto">
          <a:xfrm>
            <a:off x="320557" y="1621152"/>
            <a:ext cx="11461019" cy="4042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lvl1pPr eaLnBrk="0" fontAlgn="base" hangingPunct="0">
              <a:spcBef>
                <a:spcPct val="0"/>
              </a:spcBef>
              <a:spcAft>
                <a:spcPct val="0"/>
              </a:spcAft>
              <a:tabLst>
                <a:tab pos="5394325" algn="r"/>
              </a:tabLst>
              <a:defRPr>
                <a:solidFill>
                  <a:schemeClr val="tx1"/>
                </a:solidFill>
                <a:latin typeface="Arial" panose="020B0604020202020204" pitchFamily="34" charset="0"/>
              </a:defRPr>
            </a:lvl1pPr>
            <a:lvl2pPr eaLnBrk="0" fontAlgn="base" hangingPunct="0">
              <a:spcBef>
                <a:spcPct val="0"/>
              </a:spcBef>
              <a:spcAft>
                <a:spcPct val="0"/>
              </a:spcAft>
              <a:tabLst>
                <a:tab pos="5394325" algn="r"/>
              </a:tabLst>
              <a:defRPr>
                <a:solidFill>
                  <a:schemeClr val="tx1"/>
                </a:solidFill>
                <a:latin typeface="Arial" panose="020B0604020202020204" pitchFamily="34" charset="0"/>
              </a:defRPr>
            </a:lvl2pPr>
            <a:lvl3pPr eaLnBrk="0" fontAlgn="base" hangingPunct="0">
              <a:spcBef>
                <a:spcPct val="0"/>
              </a:spcBef>
              <a:spcAft>
                <a:spcPct val="0"/>
              </a:spcAft>
              <a:tabLst>
                <a:tab pos="5394325" algn="r"/>
              </a:tabLst>
              <a:defRPr>
                <a:solidFill>
                  <a:schemeClr val="tx1"/>
                </a:solidFill>
                <a:latin typeface="Arial" panose="020B0604020202020204" pitchFamily="34" charset="0"/>
              </a:defRPr>
            </a:lvl3pPr>
            <a:lvl4pPr eaLnBrk="0" fontAlgn="base" hangingPunct="0">
              <a:spcBef>
                <a:spcPct val="0"/>
              </a:spcBef>
              <a:spcAft>
                <a:spcPct val="0"/>
              </a:spcAft>
              <a:tabLst>
                <a:tab pos="5394325" algn="r"/>
              </a:tabLst>
              <a:defRPr>
                <a:solidFill>
                  <a:schemeClr val="tx1"/>
                </a:solidFill>
                <a:latin typeface="Arial" panose="020B0604020202020204" pitchFamily="34" charset="0"/>
              </a:defRPr>
            </a:lvl4pPr>
            <a:lvl5pPr eaLnBrk="0" fontAlgn="base" hangingPunct="0">
              <a:spcBef>
                <a:spcPct val="0"/>
              </a:spcBef>
              <a:spcAft>
                <a:spcPct val="0"/>
              </a:spcAft>
              <a:tabLst>
                <a:tab pos="5394325" algn="r"/>
              </a:tabLst>
              <a:defRPr>
                <a:solidFill>
                  <a:schemeClr val="tx1"/>
                </a:solidFill>
                <a:latin typeface="Arial" panose="020B0604020202020204" pitchFamily="34" charset="0"/>
              </a:defRPr>
            </a:lvl5pPr>
            <a:lvl6pPr eaLnBrk="0" fontAlgn="base" hangingPunct="0">
              <a:spcBef>
                <a:spcPct val="0"/>
              </a:spcBef>
              <a:spcAft>
                <a:spcPct val="0"/>
              </a:spcAft>
              <a:tabLst>
                <a:tab pos="5394325" algn="r"/>
              </a:tabLst>
              <a:defRPr>
                <a:solidFill>
                  <a:schemeClr val="tx1"/>
                </a:solidFill>
                <a:latin typeface="Arial" panose="020B0604020202020204" pitchFamily="34" charset="0"/>
              </a:defRPr>
            </a:lvl6pPr>
            <a:lvl7pPr eaLnBrk="0" fontAlgn="base" hangingPunct="0">
              <a:spcBef>
                <a:spcPct val="0"/>
              </a:spcBef>
              <a:spcAft>
                <a:spcPct val="0"/>
              </a:spcAft>
              <a:tabLst>
                <a:tab pos="5394325" algn="r"/>
              </a:tabLst>
              <a:defRPr>
                <a:solidFill>
                  <a:schemeClr val="tx1"/>
                </a:solidFill>
                <a:latin typeface="Arial" panose="020B0604020202020204" pitchFamily="34" charset="0"/>
              </a:defRPr>
            </a:lvl7pPr>
            <a:lvl8pPr eaLnBrk="0" fontAlgn="base" hangingPunct="0">
              <a:spcBef>
                <a:spcPct val="0"/>
              </a:spcBef>
              <a:spcAft>
                <a:spcPct val="0"/>
              </a:spcAft>
              <a:tabLst>
                <a:tab pos="5394325" algn="r"/>
              </a:tabLst>
              <a:defRPr>
                <a:solidFill>
                  <a:schemeClr val="tx1"/>
                </a:solidFill>
                <a:latin typeface="Arial" panose="020B0604020202020204" pitchFamily="34" charset="0"/>
              </a:defRPr>
            </a:lvl8pPr>
            <a:lvl9pPr eaLnBrk="0" fontAlgn="base" hangingPunct="0">
              <a:spcBef>
                <a:spcPct val="0"/>
              </a:spcBef>
              <a:spcAft>
                <a:spcPct val="0"/>
              </a:spcAft>
              <a:tabLst>
                <a:tab pos="5394325" algn="r"/>
              </a:tabLst>
              <a:defRPr>
                <a:solidFill>
                  <a:schemeClr val="tx1"/>
                </a:solidFill>
                <a:latin typeface="Arial" panose="020B0604020202020204" pitchFamily="34" charset="0"/>
              </a:defRPr>
            </a:lvl9pPr>
          </a:lstStyle>
          <a:p>
            <a:pPr marL="457189" indent="-457189">
              <a:spcAft>
                <a:spcPts val="1600"/>
              </a:spcAft>
              <a:buFont typeface="Arial" panose="020B0604020202020204" pitchFamily="34" charset="0"/>
              <a:buChar char="•"/>
            </a:pPr>
            <a:r>
              <a:rPr lang="es-MX" sz="2800" dirty="0">
                <a:solidFill>
                  <a:srgbClr val="002060"/>
                </a:solidFill>
                <a:latin typeface="Candara" panose="020E0502030303020204" pitchFamily="34" charset="0"/>
              </a:rPr>
              <a:t>Asociación al proyecto de Ley de exclusividad universitaria.</a:t>
            </a:r>
          </a:p>
          <a:p>
            <a:pPr marL="457189" indent="-457189">
              <a:spcAft>
                <a:spcPts val="1600"/>
              </a:spcAft>
              <a:buFont typeface="Arial" panose="020B0604020202020204" pitchFamily="34" charset="0"/>
              <a:buChar char="•"/>
            </a:pPr>
            <a:r>
              <a:rPr lang="es-MX" sz="2800" dirty="0">
                <a:solidFill>
                  <a:srgbClr val="002060"/>
                </a:solidFill>
                <a:latin typeface="Candara" panose="020E0502030303020204" pitchFamily="34" charset="0"/>
              </a:rPr>
              <a:t>Asociación al proyecto de Ley, recuperación de la tuición ética de los colegios profesionales (Boletín No 6562-07).</a:t>
            </a:r>
          </a:p>
          <a:p>
            <a:pPr marL="457189" indent="-457189">
              <a:spcAft>
                <a:spcPts val="1600"/>
              </a:spcAft>
              <a:buFont typeface="Arial" panose="020B0604020202020204" pitchFamily="34" charset="0"/>
              <a:buChar char="•"/>
            </a:pPr>
            <a:r>
              <a:rPr lang="es-MX" altLang="es-CL" sz="2800" dirty="0">
                <a:solidFill>
                  <a:srgbClr val="002060"/>
                </a:solidFill>
                <a:latin typeface="Candara" panose="020E0502030303020204" pitchFamily="34" charset="0"/>
              </a:rPr>
              <a:t>Revisar Código Penal y Código Civil en lo referido a ejercicio legal y responsabilidad civil (</a:t>
            </a:r>
            <a:r>
              <a:rPr lang="es-CL" altLang="es-CL" sz="2800" dirty="0">
                <a:solidFill>
                  <a:srgbClr val="002060"/>
                </a:solidFill>
                <a:latin typeface="Candara" panose="020E0502030303020204" pitchFamily="34" charset="0"/>
              </a:rPr>
              <a:t>Ley 20.000 por sanciones para profesionales que tienen autorización para la prescripción de medicamentos, Artículo 313 letra a del Código Penal, Artículo 491 del Código Penal).</a:t>
            </a:r>
            <a:endParaRPr lang="es-MX" altLang="es-CL" sz="1800" dirty="0">
              <a:solidFill>
                <a:srgbClr val="002060"/>
              </a:solidFill>
              <a:latin typeface="Candara" panose="020E0502030303020204" pitchFamily="34" charset="0"/>
            </a:endParaRPr>
          </a:p>
          <a:p>
            <a:pPr defTabSz="1219170">
              <a:buClrTx/>
              <a:tabLst>
                <a:tab pos="7192254" algn="r"/>
              </a:tabLst>
            </a:pPr>
            <a:r>
              <a:rPr lang="es-ES_tradnl" altLang="es-CL" sz="1800" dirty="0">
                <a:solidFill>
                  <a:srgbClr val="002060"/>
                </a:solidFill>
                <a:latin typeface="Candara" panose="020E0502030303020204" pitchFamily="34" charset="0"/>
              </a:rPr>
              <a:t>	</a:t>
            </a:r>
          </a:p>
        </p:txBody>
      </p:sp>
    </p:spTree>
    <p:extLst>
      <p:ext uri="{BB962C8B-B14F-4D97-AF65-F5344CB8AC3E}">
        <p14:creationId xmlns:p14="http://schemas.microsoft.com/office/powerpoint/2010/main" val="27309829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pic>
        <p:nvPicPr>
          <p:cNvPr id="136" name="Google Shape;136;p6"/>
          <p:cNvPicPr preferRelativeResize="0"/>
          <p:nvPr/>
        </p:nvPicPr>
        <p:blipFill rotWithShape="1">
          <a:blip r:embed="rId3">
            <a:alphaModFix/>
          </a:blip>
          <a:srcRect/>
          <a:stretch/>
        </p:blipFill>
        <p:spPr>
          <a:xfrm>
            <a:off x="4275851" y="0"/>
            <a:ext cx="3640297" cy="185351"/>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o 9">
            <a:extLst>
              <a:ext uri="{FF2B5EF4-FFF2-40B4-BE49-F238E27FC236}">
                <a16:creationId xmlns:a16="http://schemas.microsoft.com/office/drawing/2014/main" id="{FE283593-5C4F-4800-8775-D46D549EF0C2}"/>
              </a:ext>
            </a:extLst>
          </p:cNvPr>
          <p:cNvGrpSpPr/>
          <p:nvPr/>
        </p:nvGrpSpPr>
        <p:grpSpPr>
          <a:xfrm>
            <a:off x="1811525" y="243841"/>
            <a:ext cx="8332220" cy="6359183"/>
            <a:chOff x="179512" y="0"/>
            <a:chExt cx="8427888" cy="6858000"/>
          </a:xfrm>
        </p:grpSpPr>
        <p:pic>
          <p:nvPicPr>
            <p:cNvPr id="9" name="Imagen 8">
              <a:extLst>
                <a:ext uri="{FF2B5EF4-FFF2-40B4-BE49-F238E27FC236}">
                  <a16:creationId xmlns:a16="http://schemas.microsoft.com/office/drawing/2014/main" id="{48BB232A-A01D-4873-829D-AF4433967AE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0"/>
              <a:ext cx="6840760" cy="6840760"/>
            </a:xfrm>
            <a:prstGeom prst="rect">
              <a:avLst/>
            </a:prstGeom>
          </p:spPr>
        </p:pic>
        <p:pic>
          <p:nvPicPr>
            <p:cNvPr id="11" name="Imagen 10">
              <a:extLst>
                <a:ext uri="{FF2B5EF4-FFF2-40B4-BE49-F238E27FC236}">
                  <a16:creationId xmlns:a16="http://schemas.microsoft.com/office/drawing/2014/main" id="{2FE70AD5-B489-4574-988D-7CC64742FE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76842"/>
            <a:stretch/>
          </p:blipFill>
          <p:spPr>
            <a:xfrm>
              <a:off x="7023224" y="17240"/>
              <a:ext cx="1584176" cy="6840760"/>
            </a:xfrm>
            <a:prstGeom prst="rect">
              <a:avLst/>
            </a:prstGeom>
          </p:spPr>
        </p:pic>
      </p:grpSp>
      <p:graphicFrame>
        <p:nvGraphicFramePr>
          <p:cNvPr id="3" name="Diagrama 2">
            <a:extLst>
              <a:ext uri="{FF2B5EF4-FFF2-40B4-BE49-F238E27FC236}">
                <a16:creationId xmlns:a16="http://schemas.microsoft.com/office/drawing/2014/main" id="{C2BD6D26-960A-45FB-8EBE-5A9259739A51}"/>
              </a:ext>
            </a:extLst>
          </p:cNvPr>
          <p:cNvGraphicFramePr/>
          <p:nvPr>
            <p:extLst>
              <p:ext uri="{D42A27DB-BD31-4B8C-83A1-F6EECF244321}">
                <p14:modId xmlns:p14="http://schemas.microsoft.com/office/powerpoint/2010/main" val="597901996"/>
              </p:ext>
            </p:extLst>
          </p:nvPr>
        </p:nvGraphicFramePr>
        <p:xfrm>
          <a:off x="689861" y="121919"/>
          <a:ext cx="10916924" cy="64640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CuadroTexto 6"/>
          <p:cNvSpPr txBox="1"/>
          <p:nvPr/>
        </p:nvSpPr>
        <p:spPr>
          <a:xfrm>
            <a:off x="8981085" y="2119223"/>
            <a:ext cx="2625700" cy="4154984"/>
          </a:xfrm>
          <a:prstGeom prst="rect">
            <a:avLst/>
          </a:prstGeom>
          <a:noFill/>
        </p:spPr>
        <p:txBody>
          <a:bodyPr wrap="square" rtlCol="0">
            <a:spAutoFit/>
          </a:bodyPr>
          <a:lstStyle/>
          <a:p>
            <a:pPr marL="342900" indent="-342900">
              <a:buFont typeface="Calibri" panose="020F0502020204030204" pitchFamily="34" charset="0"/>
              <a:buChar char="-"/>
            </a:pPr>
            <a:r>
              <a:rPr lang="es-CL" sz="2400" dirty="0"/>
              <a:t>TENS</a:t>
            </a:r>
          </a:p>
          <a:p>
            <a:pPr marL="342900" indent="-342900">
              <a:buFont typeface="Calibri" panose="020F0502020204030204" pitchFamily="34" charset="0"/>
              <a:buChar char="-"/>
            </a:pPr>
            <a:r>
              <a:rPr lang="es-CL" sz="2400" dirty="0"/>
              <a:t>TONS</a:t>
            </a:r>
          </a:p>
          <a:p>
            <a:pPr marL="342900" indent="-342900">
              <a:buFont typeface="Calibri" panose="020F0502020204030204" pitchFamily="34" charset="0"/>
              <a:buChar char="-"/>
            </a:pPr>
            <a:r>
              <a:rPr lang="es-CL" sz="2400" dirty="0"/>
              <a:t>Técnico en óptica y contactología</a:t>
            </a:r>
          </a:p>
          <a:p>
            <a:pPr marL="342900" indent="-342900">
              <a:buFont typeface="Calibri" panose="020F0502020204030204" pitchFamily="34" charset="0"/>
              <a:buChar char="-"/>
            </a:pPr>
            <a:r>
              <a:rPr lang="es-CL" sz="2400" dirty="0"/>
              <a:t>Técnico en Estética Integral</a:t>
            </a:r>
          </a:p>
          <a:p>
            <a:pPr marL="342900" indent="-342900">
              <a:buFont typeface="Calibri" panose="020F0502020204030204" pitchFamily="34" charset="0"/>
              <a:buChar char="-"/>
            </a:pPr>
            <a:r>
              <a:rPr lang="es-CL" sz="2400" dirty="0"/>
              <a:t>Técnico en Farmacia</a:t>
            </a:r>
          </a:p>
          <a:p>
            <a:pPr marL="342900" indent="-342900">
              <a:buFont typeface="Calibri" panose="020F0502020204030204" pitchFamily="34" charset="0"/>
              <a:buChar char="-"/>
            </a:pPr>
            <a:r>
              <a:rPr lang="es-CL" sz="2400" dirty="0"/>
              <a:t>otros</a:t>
            </a:r>
          </a:p>
        </p:txBody>
      </p:sp>
    </p:spTree>
    <p:extLst>
      <p:ext uri="{BB962C8B-B14F-4D97-AF65-F5344CB8AC3E}">
        <p14:creationId xmlns:p14="http://schemas.microsoft.com/office/powerpoint/2010/main" val="2824212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9518C913-E60F-69F4-4AAA-5309C5122554}"/>
              </a:ext>
            </a:extLst>
          </p:cNvPr>
          <p:cNvSpPr>
            <a:spLocks noGrp="1"/>
          </p:cNvSpPr>
          <p:nvPr>
            <p:ph type="title"/>
          </p:nvPr>
        </p:nvSpPr>
        <p:spPr/>
        <p:txBody>
          <a:bodyPr>
            <a:normAutofit fontScale="90000"/>
          </a:bodyPr>
          <a:lstStyle/>
          <a:p>
            <a:r>
              <a:rPr lang="es-CL" dirty="0"/>
              <a:t>Indicaciones Sustitutivas</a:t>
            </a:r>
          </a:p>
        </p:txBody>
      </p:sp>
      <p:sp>
        <p:nvSpPr>
          <p:cNvPr id="14" name="2 Marcador de contenido"/>
          <p:cNvSpPr>
            <a:spLocks noGrp="1"/>
          </p:cNvSpPr>
          <p:nvPr>
            <p:ph idx="4294967295"/>
          </p:nvPr>
        </p:nvSpPr>
        <p:spPr>
          <a:xfrm>
            <a:off x="609601" y="1521987"/>
            <a:ext cx="11091863" cy="4800600"/>
          </a:xfrm>
          <a:prstGeom prst="rect">
            <a:avLst/>
          </a:prstGeom>
        </p:spPr>
        <p:txBody>
          <a:bodyPr>
            <a:normAutofit fontScale="92500" lnSpcReduction="10000"/>
          </a:bodyPr>
          <a:lstStyle/>
          <a:p>
            <a:pPr marL="50800" indent="0" algn="just">
              <a:spcBef>
                <a:spcPts val="1312"/>
              </a:spcBef>
              <a:buNone/>
            </a:pPr>
            <a:r>
              <a:rPr lang="es-MX" sz="2400" b="1" dirty="0">
                <a:solidFill>
                  <a:srgbClr val="404040"/>
                </a:solidFill>
                <a:latin typeface="Candara" panose="020E0502030303020204" pitchFamily="34" charset="0"/>
                <a:ea typeface="Verdana" panose="020B0604030504040204" pitchFamily="34" charset="0"/>
                <a:cs typeface="Verdana" panose="020B0604030504040204" pitchFamily="34" charset="0"/>
              </a:rPr>
              <a:t>Objetivo General: </a:t>
            </a:r>
            <a:r>
              <a:rPr lang="es-MX" sz="2400" dirty="0">
                <a:solidFill>
                  <a:srgbClr val="404040"/>
                </a:solidFill>
                <a:latin typeface="Candara" panose="020E0502030303020204" pitchFamily="34" charset="0"/>
                <a:ea typeface="Verdana" panose="020B0604030504040204" pitchFamily="34" charset="0"/>
                <a:cs typeface="Verdana" panose="020B0604030504040204" pitchFamily="34" charset="0"/>
              </a:rPr>
              <a:t>Actualizar la regulación del ejercicio de la medicina y profesiones afines normada en el Libro V del Código Sanitario en su totalidad, excepto los artículos asociados a Ley IV.</a:t>
            </a:r>
          </a:p>
          <a:p>
            <a:pPr marL="50800" indent="0" algn="just">
              <a:spcBef>
                <a:spcPts val="1312"/>
              </a:spcBef>
              <a:buNone/>
            </a:pPr>
            <a:endParaRPr lang="es-MX" sz="2400" dirty="0">
              <a:solidFill>
                <a:srgbClr val="404040"/>
              </a:solidFill>
              <a:latin typeface="Candara" panose="020E0502030303020204" pitchFamily="34" charset="0"/>
              <a:ea typeface="Verdana" panose="020B0604030504040204" pitchFamily="34" charset="0"/>
              <a:cs typeface="Verdana" panose="020B0604030504040204" pitchFamily="34" charset="0"/>
            </a:endParaRPr>
          </a:p>
          <a:p>
            <a:pPr marL="50800" indent="0" algn="just">
              <a:spcBef>
                <a:spcPts val="1312"/>
              </a:spcBef>
              <a:buNone/>
            </a:pPr>
            <a:r>
              <a:rPr lang="es-MX" sz="2400" b="1" dirty="0">
                <a:solidFill>
                  <a:srgbClr val="404040"/>
                </a:solidFill>
                <a:latin typeface="Candara" panose="020E0502030303020204" pitchFamily="34" charset="0"/>
                <a:ea typeface="Verdana" panose="020B0604030504040204" pitchFamily="34" charset="0"/>
                <a:cs typeface="Verdana" panose="020B0604030504040204" pitchFamily="34" charset="0"/>
              </a:rPr>
              <a:t>Objetivos Específicos:</a:t>
            </a:r>
          </a:p>
          <a:p>
            <a:pPr algn="just">
              <a:spcBef>
                <a:spcPts val="1312"/>
              </a:spcBef>
            </a:pPr>
            <a:r>
              <a:rPr lang="es-CL" sz="2400" dirty="0">
                <a:solidFill>
                  <a:srgbClr val="404040"/>
                </a:solidFill>
                <a:latin typeface="Candara" panose="020E0502030303020204" pitchFamily="34" charset="0"/>
                <a:ea typeface="Verdana" panose="020B0604030504040204" pitchFamily="34" charset="0"/>
                <a:cs typeface="Verdana" panose="020B0604030504040204" pitchFamily="34" charset="0"/>
              </a:rPr>
              <a:t>Reconocer explícitamente a los profesionales y técnicos de la salud que no son mencionados en la regulación vigente;</a:t>
            </a:r>
          </a:p>
          <a:p>
            <a:pPr algn="just">
              <a:spcBef>
                <a:spcPts val="1312"/>
              </a:spcBef>
            </a:pPr>
            <a:r>
              <a:rPr lang="es-CL" sz="2400" dirty="0">
                <a:solidFill>
                  <a:srgbClr val="404040"/>
                </a:solidFill>
                <a:latin typeface="Candara" panose="020E0502030303020204" pitchFamily="34" charset="0"/>
                <a:ea typeface="Verdana" panose="020B0604030504040204" pitchFamily="34" charset="0"/>
                <a:cs typeface="Verdana" panose="020B0604030504040204" pitchFamily="34" charset="0"/>
              </a:rPr>
              <a:t>Actualizar los ámbitos de acción de los profesionales de la salud que son mencionados explícitamente en el LV y los nuevos profesionales y técnicos reconocidos en esta reforma;</a:t>
            </a:r>
          </a:p>
          <a:p>
            <a:pPr algn="just">
              <a:spcBef>
                <a:spcPts val="1312"/>
              </a:spcBef>
            </a:pPr>
            <a:r>
              <a:rPr lang="es-CL" sz="2400" dirty="0">
                <a:solidFill>
                  <a:srgbClr val="404040"/>
                </a:solidFill>
                <a:latin typeface="Candara" panose="020E0502030303020204" pitchFamily="34" charset="0"/>
                <a:ea typeface="Verdana" panose="020B0604030504040204" pitchFamily="34" charset="0"/>
                <a:cs typeface="Verdana" panose="020B0604030504040204" pitchFamily="34" charset="0"/>
              </a:rPr>
              <a:t>Construir un modelo de regulación de profesionales, técnicos y auxiliares de la salud acorde a la evolución del sistema de salud de nuestro país; y</a:t>
            </a:r>
          </a:p>
          <a:p>
            <a:pPr algn="just">
              <a:spcBef>
                <a:spcPts val="1312"/>
              </a:spcBef>
            </a:pPr>
            <a:r>
              <a:rPr lang="es-CL" sz="2400" dirty="0">
                <a:solidFill>
                  <a:srgbClr val="404040"/>
                </a:solidFill>
                <a:latin typeface="Candara" panose="020E0502030303020204" pitchFamily="34" charset="0"/>
                <a:ea typeface="Verdana" panose="020B0604030504040204" pitchFamily="34" charset="0"/>
                <a:cs typeface="Verdana" panose="020B0604030504040204" pitchFamily="34" charset="0"/>
              </a:rPr>
              <a:t>Actualizar los términos utilizados en la regulación vigente que se encuentran obsoletos.</a:t>
            </a:r>
          </a:p>
          <a:p>
            <a:pPr marL="50800" indent="0" algn="just">
              <a:spcBef>
                <a:spcPts val="1312"/>
              </a:spcBef>
              <a:buNone/>
            </a:pPr>
            <a:endParaRPr lang="es-MX" sz="2400" dirty="0">
              <a:solidFill>
                <a:srgbClr val="404040"/>
              </a:solidFill>
              <a:latin typeface="Candara" panose="020E050203030302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86473130"/>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spd="med" advClick="0" advTm="4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74AB08-9DA9-759F-79FD-35EDEEA2066F}"/>
              </a:ext>
            </a:extLst>
          </p:cNvPr>
          <p:cNvSpPr>
            <a:spLocks noGrp="1"/>
          </p:cNvSpPr>
          <p:nvPr>
            <p:ph type="title"/>
          </p:nvPr>
        </p:nvSpPr>
        <p:spPr/>
        <p:txBody>
          <a:bodyPr>
            <a:normAutofit fontScale="90000"/>
          </a:bodyPr>
          <a:lstStyle/>
          <a:p>
            <a:r>
              <a:rPr lang="es-CL" dirty="0"/>
              <a:t>Materias excluidas</a:t>
            </a:r>
          </a:p>
        </p:txBody>
      </p:sp>
      <p:graphicFrame>
        <p:nvGraphicFramePr>
          <p:cNvPr id="3" name="Diagrama 2"/>
          <p:cNvGraphicFramePr/>
          <p:nvPr>
            <p:extLst>
              <p:ext uri="{D42A27DB-BD31-4B8C-83A1-F6EECF244321}">
                <p14:modId xmlns:p14="http://schemas.microsoft.com/office/powerpoint/2010/main" val="1378119094"/>
              </p:ext>
            </p:extLst>
          </p:nvPr>
        </p:nvGraphicFramePr>
        <p:xfrm>
          <a:off x="412225" y="1827229"/>
          <a:ext cx="11367549" cy="39511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83346429"/>
      </p:ext>
    </p:extLst>
  </p:cSld>
  <p:clrMapOvr>
    <a:masterClrMapping/>
  </p:clrMapOvr>
  <mc:AlternateContent xmlns:mc="http://schemas.openxmlformats.org/markup-compatibility/2006" xmlns:p14="http://schemas.microsoft.com/office/powerpoint/2010/main">
    <mc:Choice Requires="p14">
      <p:transition spd="med" p14:dur="700" advClick="0" advTm="4000">
        <p:fade/>
      </p:transition>
    </mc:Choice>
    <mc:Fallback xmlns="">
      <p:transition spd="med" advClick="0" advTm="4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731837"/>
            <a:ext cx="8589684" cy="544227"/>
          </a:xfrm>
        </p:spPr>
        <p:txBody>
          <a:bodyPr>
            <a:normAutofit fontScale="90000"/>
          </a:bodyPr>
          <a:lstStyle/>
          <a:p>
            <a:r>
              <a:rPr lang="es-CL" dirty="0"/>
              <a:t>Articulado propuesto</a:t>
            </a:r>
            <a:br>
              <a:rPr lang="es-CL" dirty="0"/>
            </a:br>
            <a:r>
              <a:rPr lang="es-CL" sz="3600" dirty="0"/>
              <a:t>Título del Libro:</a:t>
            </a:r>
            <a:endParaRPr lang="es-CL" dirty="0"/>
          </a:p>
        </p:txBody>
      </p:sp>
      <p:graphicFrame>
        <p:nvGraphicFramePr>
          <p:cNvPr id="4" name="Marcador de contenido 3">
            <a:extLst>
              <a:ext uri="{FF2B5EF4-FFF2-40B4-BE49-F238E27FC236}">
                <a16:creationId xmlns:a16="http://schemas.microsoft.com/office/drawing/2014/main" id="{7D5C7F8E-B196-0198-85D7-886FAAB9FCDF}"/>
              </a:ext>
            </a:extLst>
          </p:cNvPr>
          <p:cNvGraphicFramePr>
            <a:graphicFrameLocks noGrp="1"/>
          </p:cNvGraphicFramePr>
          <p:nvPr>
            <p:ph idx="1"/>
            <p:extLst>
              <p:ext uri="{D42A27DB-BD31-4B8C-83A1-F6EECF244321}">
                <p14:modId xmlns:p14="http://schemas.microsoft.com/office/powerpoint/2010/main" val="3813684333"/>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62311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p:txBody>
          <a:bodyPr>
            <a:normAutofit fontScale="90000"/>
          </a:bodyPr>
          <a:lstStyle/>
          <a:p>
            <a:r>
              <a:rPr lang="es-CL" dirty="0"/>
              <a:t>Articulado propuesto</a:t>
            </a:r>
          </a:p>
        </p:txBody>
      </p:sp>
      <p:graphicFrame>
        <p:nvGraphicFramePr>
          <p:cNvPr id="4" name="Marcador de contenido 3">
            <a:extLst>
              <a:ext uri="{FF2B5EF4-FFF2-40B4-BE49-F238E27FC236}">
                <a16:creationId xmlns:a16="http://schemas.microsoft.com/office/drawing/2014/main" id="{7D5C7F8E-B196-0198-85D7-886FAAB9FCDF}"/>
              </a:ext>
            </a:extLst>
          </p:cNvPr>
          <p:cNvGraphicFramePr>
            <a:graphicFrameLocks noGrp="1"/>
          </p:cNvGraphicFramePr>
          <p:nvPr>
            <p:ph idx="1"/>
            <p:extLst>
              <p:ext uri="{D42A27DB-BD31-4B8C-83A1-F6EECF244321}">
                <p14:modId xmlns:p14="http://schemas.microsoft.com/office/powerpoint/2010/main" val="713545893"/>
              </p:ext>
            </p:extLst>
          </p:nvPr>
        </p:nvGraphicFramePr>
        <p:xfrm>
          <a:off x="609600" y="1251284"/>
          <a:ext cx="10972799" cy="48748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905683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p:txBody>
          <a:bodyPr>
            <a:normAutofit fontScale="90000"/>
          </a:bodyPr>
          <a:lstStyle/>
          <a:p>
            <a:r>
              <a:rPr lang="es-CL" dirty="0"/>
              <a:t>Articulado propuesto</a:t>
            </a:r>
          </a:p>
        </p:txBody>
      </p:sp>
      <p:graphicFrame>
        <p:nvGraphicFramePr>
          <p:cNvPr id="6" name="Marcador de contenido 3">
            <a:extLst>
              <a:ext uri="{FF2B5EF4-FFF2-40B4-BE49-F238E27FC236}">
                <a16:creationId xmlns:a16="http://schemas.microsoft.com/office/drawing/2014/main" id="{2D7325E1-8D83-FE3D-AA67-6807FA3F1995}"/>
              </a:ext>
            </a:extLst>
          </p:cNvPr>
          <p:cNvGraphicFramePr>
            <a:graphicFrameLocks noGrp="1"/>
          </p:cNvGraphicFramePr>
          <p:nvPr>
            <p:ph idx="1"/>
            <p:extLst>
              <p:ext uri="{D42A27DB-BD31-4B8C-83A1-F6EECF244321}">
                <p14:modId xmlns:p14="http://schemas.microsoft.com/office/powerpoint/2010/main" val="2471659426"/>
              </p:ext>
            </p:extLst>
          </p:nvPr>
        </p:nvGraphicFramePr>
        <p:xfrm>
          <a:off x="609600" y="1251284"/>
          <a:ext cx="10972799" cy="48748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06303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590CA44-6D1A-AADF-233E-B208864AAD02}"/>
              </a:ext>
            </a:extLst>
          </p:cNvPr>
          <p:cNvSpPr>
            <a:spLocks noGrp="1"/>
          </p:cNvSpPr>
          <p:nvPr>
            <p:ph type="title"/>
          </p:nvPr>
        </p:nvSpPr>
        <p:spPr>
          <a:xfrm>
            <a:off x="609600" y="590660"/>
            <a:ext cx="8589684" cy="544227"/>
          </a:xfrm>
        </p:spPr>
        <p:txBody>
          <a:bodyPr>
            <a:normAutofit fontScale="90000"/>
          </a:bodyPr>
          <a:lstStyle/>
          <a:p>
            <a:r>
              <a:rPr lang="es-CL" dirty="0"/>
              <a:t>Articulado propuesto</a:t>
            </a:r>
            <a:br>
              <a:rPr lang="es-CL" dirty="0"/>
            </a:br>
            <a:r>
              <a:rPr lang="es-CL" sz="3600" dirty="0"/>
              <a:t>De lo particular (ámbitos de acción)</a:t>
            </a:r>
            <a:endParaRPr lang="es-CL" dirty="0"/>
          </a:p>
        </p:txBody>
      </p:sp>
      <p:graphicFrame>
        <p:nvGraphicFramePr>
          <p:cNvPr id="6" name="Diagrama 5">
            <a:extLst>
              <a:ext uri="{FF2B5EF4-FFF2-40B4-BE49-F238E27FC236}">
                <a16:creationId xmlns:a16="http://schemas.microsoft.com/office/drawing/2014/main" id="{BA024B76-8693-B671-FE31-FA65B7AAD196}"/>
              </a:ext>
            </a:extLst>
          </p:cNvPr>
          <p:cNvGraphicFramePr/>
          <p:nvPr>
            <p:extLst>
              <p:ext uri="{D42A27DB-BD31-4B8C-83A1-F6EECF244321}">
                <p14:modId xmlns:p14="http://schemas.microsoft.com/office/powerpoint/2010/main" val="2590626351"/>
              </p:ext>
            </p:extLst>
          </p:nvPr>
        </p:nvGraphicFramePr>
        <p:xfrm>
          <a:off x="609600" y="1744579"/>
          <a:ext cx="8128000" cy="43554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ángulo: esquinas redondeadas 7">
            <a:extLst>
              <a:ext uri="{FF2B5EF4-FFF2-40B4-BE49-F238E27FC236}">
                <a16:creationId xmlns:a16="http://schemas.microsoft.com/office/drawing/2014/main" id="{5D7CC5C3-9756-24A6-3CED-4136EDF0EF16}"/>
              </a:ext>
            </a:extLst>
          </p:cNvPr>
          <p:cNvSpPr/>
          <p:nvPr/>
        </p:nvSpPr>
        <p:spPr>
          <a:xfrm>
            <a:off x="9300411" y="5137484"/>
            <a:ext cx="2045368" cy="34891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NUEVO</a:t>
            </a:r>
          </a:p>
        </p:txBody>
      </p:sp>
      <p:sp>
        <p:nvSpPr>
          <p:cNvPr id="9" name="Rectángulo: esquinas redondeadas 8">
            <a:extLst>
              <a:ext uri="{FF2B5EF4-FFF2-40B4-BE49-F238E27FC236}">
                <a16:creationId xmlns:a16="http://schemas.microsoft.com/office/drawing/2014/main" id="{C074B09A-9E99-07F5-6471-7C8A92391F6E}"/>
              </a:ext>
            </a:extLst>
          </p:cNvPr>
          <p:cNvSpPr/>
          <p:nvPr/>
        </p:nvSpPr>
        <p:spPr>
          <a:xfrm>
            <a:off x="9300411" y="5616742"/>
            <a:ext cx="2045368" cy="348916"/>
          </a:xfrm>
          <a:prstGeom prst="roundRect">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L" b="1" dirty="0"/>
              <a:t>ACTUALIZADO</a:t>
            </a:r>
          </a:p>
        </p:txBody>
      </p:sp>
    </p:spTree>
    <p:extLst>
      <p:ext uri="{BB962C8B-B14F-4D97-AF65-F5344CB8AC3E}">
        <p14:creationId xmlns:p14="http://schemas.microsoft.com/office/powerpoint/2010/main" val="1208290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1FC0F9DA499F44B64DA291651F7BC3" ma:contentTypeVersion="4" ma:contentTypeDescription="Create a new document." ma:contentTypeScope="" ma:versionID="68dfa749f7cbdea41cad35a44cbc6155">
  <xsd:schema xmlns:xsd="http://www.w3.org/2001/XMLSchema" xmlns:xs="http://www.w3.org/2001/XMLSchema" xmlns:p="http://schemas.microsoft.com/office/2006/metadata/properties" xmlns:ns3="781a4752-b0a8-41e8-b7cc-508edda92b05" targetNamespace="http://schemas.microsoft.com/office/2006/metadata/properties" ma:root="true" ma:fieldsID="0b391434675ecbd975a1f7f980a578dc" ns3:_="">
    <xsd:import namespace="781a4752-b0a8-41e8-b7cc-508edda92b05"/>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1a4752-b0a8-41e8-b7cc-508edda92b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E83E4B-9EA2-4A5B-9BF8-9F7207A98E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1a4752-b0a8-41e8-b7cc-508edda92b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8C58CA-934D-4331-A9BF-D4E9983E9E72}">
  <ds:schemaRefs>
    <ds:schemaRef ds:uri="http://schemas.microsoft.com/sharepoint/v3/contenttype/forms"/>
  </ds:schemaRefs>
</ds:datastoreItem>
</file>

<file path=customXml/itemProps3.xml><?xml version="1.0" encoding="utf-8"?>
<ds:datastoreItem xmlns:ds="http://schemas.openxmlformats.org/officeDocument/2006/customXml" ds:itemID="{4E442473-566B-4DEC-89B4-B282137390B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781a4752-b0a8-41e8-b7cc-508edda92b05"/>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777</TotalTime>
  <Words>9255</Words>
  <Application>Microsoft Office PowerPoint</Application>
  <PresentationFormat>Panorámica</PresentationFormat>
  <Paragraphs>324</Paragraphs>
  <Slides>26</Slides>
  <Notes>24</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6</vt:i4>
      </vt:variant>
    </vt:vector>
  </HeadingPairs>
  <TitlesOfParts>
    <vt:vector size="36" baseType="lpstr">
      <vt:lpstr>Arial</vt:lpstr>
      <vt:lpstr>Calibri</vt:lpstr>
      <vt:lpstr>Cambria</vt:lpstr>
      <vt:lpstr>Candara</vt:lpstr>
      <vt:lpstr>Courier New</vt:lpstr>
      <vt:lpstr>Lucida Grande</vt:lpstr>
      <vt:lpstr>Symbol</vt:lpstr>
      <vt:lpstr>Verdana</vt:lpstr>
      <vt:lpstr>Tema de Office</vt:lpstr>
      <vt:lpstr>Diapositiva de think-cell</vt:lpstr>
      <vt:lpstr>INDICACIONES PROYECTO DE LEY BOLETIN N° 13.806 Y REFUNDIDOS </vt:lpstr>
      <vt:lpstr>CONTEXTO RELEVANTE A CONSIDERAR</vt:lpstr>
      <vt:lpstr>Presentación de PowerPoint</vt:lpstr>
      <vt:lpstr>Indicaciones Sustitutivas</vt:lpstr>
      <vt:lpstr>Materias excluidas</vt:lpstr>
      <vt:lpstr>Articulado propuesto Título del Libro:</vt:lpstr>
      <vt:lpstr>Articulado propuesto</vt:lpstr>
      <vt:lpstr>Articulado propuesto</vt:lpstr>
      <vt:lpstr>Articulado propuesto De lo particular (ámbitos de acción)</vt:lpstr>
      <vt:lpstr>Articulado propuesto De lo particular (ámbitos de acción)</vt:lpstr>
      <vt:lpstr>Articulado propuesto De lo particular (ámbitos de acción)</vt:lpstr>
      <vt:lpstr>Articulado propuesto De lo particular (ámbitos de acción)</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De lo general (especificaciones que se aplican a todos/as)</vt:lpstr>
      <vt:lpstr>Articulado propuesto Artículo 2°. Reemplázase el inciso final del artículo 9° de la ley N°20.584 que regula los derechos y deberes que tienen las personas en relación con acciones vinculadas a su atención en salud, por el siguiente: </vt:lpstr>
      <vt:lpstr>Articulado propuesto Artículo primero transitorio.- Dentro del plazo de veinticuatro meses contados desde la publicación de esta ley, el Ministerio de Salud deberá:</vt:lpstr>
      <vt:lpstr>Articulado propuesto Artículo segundo transitorio:</vt:lpstr>
      <vt:lpstr>Algunas Recomendaciones del Informe Técnico</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Silvia Rivas Mena</cp:lastModifiedBy>
  <cp:revision>130</cp:revision>
  <dcterms:created xsi:type="dcterms:W3CDTF">2022-09-08T19:25:06Z</dcterms:created>
  <dcterms:modified xsi:type="dcterms:W3CDTF">2024-04-23T20:5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1FC0F9DA499F44B64DA291651F7BC3</vt:lpwstr>
  </property>
</Properties>
</file>